
<file path=[Content_Types].xml><?xml version="1.0" encoding="utf-8"?>
<Types xmlns="http://schemas.openxmlformats.org/package/2006/content-types">
  <Default Extension="png" ContentType="image/png"/>
  <Default Extension="svg" ContentType="image/svg+xml"/>
  <Default Extension="jpeg" ContentType="image/jpeg"/>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0.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32" r:id="rId1"/>
  </p:sldMasterIdLst>
  <p:notesMasterIdLst>
    <p:notesMasterId r:id="rId16"/>
  </p:notesMasterIdLst>
  <p:handoutMasterIdLst>
    <p:handoutMasterId r:id="rId17"/>
  </p:handoutMasterIdLst>
  <p:sldIdLst>
    <p:sldId id="359" r:id="rId2"/>
    <p:sldId id="497" r:id="rId3"/>
    <p:sldId id="498" r:id="rId4"/>
    <p:sldId id="499" r:id="rId5"/>
    <p:sldId id="500" r:id="rId6"/>
    <p:sldId id="983" r:id="rId7"/>
    <p:sldId id="501" r:id="rId8"/>
    <p:sldId id="502" r:id="rId9"/>
    <p:sldId id="511" r:id="rId10"/>
    <p:sldId id="984" r:id="rId11"/>
    <p:sldId id="506" r:id="rId12"/>
    <p:sldId id="508" r:id="rId13"/>
    <p:sldId id="985" r:id="rId14"/>
    <p:sldId id="987" r:id="rId15"/>
  </p:sldIdLst>
  <p:sldSz cx="9144000" cy="5715000" type="screen16x10"/>
  <p:notesSz cx="7104063" cy="10234613"/>
  <p:defaultTextStyle>
    <a:defPPr>
      <a:defRPr lang="en-US"/>
    </a:defPPr>
    <a:lvl1pPr marL="0" algn="l" defTabSz="713232" rtl="0" eaLnBrk="1" latinLnBrk="0" hangingPunct="1">
      <a:defRPr sz="1404" kern="1200">
        <a:solidFill>
          <a:schemeClr val="tx1"/>
        </a:solidFill>
        <a:latin typeface="+mn-lt"/>
        <a:ea typeface="+mn-ea"/>
        <a:cs typeface="+mn-cs"/>
      </a:defRPr>
    </a:lvl1pPr>
    <a:lvl2pPr marL="356616" algn="l" defTabSz="713232" rtl="0" eaLnBrk="1" latinLnBrk="0" hangingPunct="1">
      <a:defRPr sz="1404" kern="1200">
        <a:solidFill>
          <a:schemeClr val="tx1"/>
        </a:solidFill>
        <a:latin typeface="+mn-lt"/>
        <a:ea typeface="+mn-ea"/>
        <a:cs typeface="+mn-cs"/>
      </a:defRPr>
    </a:lvl2pPr>
    <a:lvl3pPr marL="713232" algn="l" defTabSz="713232" rtl="0" eaLnBrk="1" latinLnBrk="0" hangingPunct="1">
      <a:defRPr sz="1404" kern="1200">
        <a:solidFill>
          <a:schemeClr val="tx1"/>
        </a:solidFill>
        <a:latin typeface="+mn-lt"/>
        <a:ea typeface="+mn-ea"/>
        <a:cs typeface="+mn-cs"/>
      </a:defRPr>
    </a:lvl3pPr>
    <a:lvl4pPr marL="1069848" algn="l" defTabSz="713232" rtl="0" eaLnBrk="1" latinLnBrk="0" hangingPunct="1">
      <a:defRPr sz="1404" kern="1200">
        <a:solidFill>
          <a:schemeClr val="tx1"/>
        </a:solidFill>
        <a:latin typeface="+mn-lt"/>
        <a:ea typeface="+mn-ea"/>
        <a:cs typeface="+mn-cs"/>
      </a:defRPr>
    </a:lvl4pPr>
    <a:lvl5pPr marL="1426464" algn="l" defTabSz="713232" rtl="0" eaLnBrk="1" latinLnBrk="0" hangingPunct="1">
      <a:defRPr sz="1404" kern="1200">
        <a:solidFill>
          <a:schemeClr val="tx1"/>
        </a:solidFill>
        <a:latin typeface="+mn-lt"/>
        <a:ea typeface="+mn-ea"/>
        <a:cs typeface="+mn-cs"/>
      </a:defRPr>
    </a:lvl5pPr>
    <a:lvl6pPr marL="1783080" algn="l" defTabSz="713232" rtl="0" eaLnBrk="1" latinLnBrk="0" hangingPunct="1">
      <a:defRPr sz="1404" kern="1200">
        <a:solidFill>
          <a:schemeClr val="tx1"/>
        </a:solidFill>
        <a:latin typeface="+mn-lt"/>
        <a:ea typeface="+mn-ea"/>
        <a:cs typeface="+mn-cs"/>
      </a:defRPr>
    </a:lvl6pPr>
    <a:lvl7pPr marL="2139696" algn="l" defTabSz="713232" rtl="0" eaLnBrk="1" latinLnBrk="0" hangingPunct="1">
      <a:defRPr sz="1404" kern="1200">
        <a:solidFill>
          <a:schemeClr val="tx1"/>
        </a:solidFill>
        <a:latin typeface="+mn-lt"/>
        <a:ea typeface="+mn-ea"/>
        <a:cs typeface="+mn-cs"/>
      </a:defRPr>
    </a:lvl7pPr>
    <a:lvl8pPr marL="2496312" algn="l" defTabSz="713232" rtl="0" eaLnBrk="1" latinLnBrk="0" hangingPunct="1">
      <a:defRPr sz="1404" kern="1200">
        <a:solidFill>
          <a:schemeClr val="tx1"/>
        </a:solidFill>
        <a:latin typeface="+mn-lt"/>
        <a:ea typeface="+mn-ea"/>
        <a:cs typeface="+mn-cs"/>
      </a:defRPr>
    </a:lvl8pPr>
    <a:lvl9pPr marL="2852928" algn="l" defTabSz="713232" rtl="0" eaLnBrk="1" latinLnBrk="0" hangingPunct="1">
      <a:defRPr sz="1404"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30B787"/>
    <a:srgbClr val="00A9CE"/>
    <a:srgbClr val="43C2CC"/>
    <a:srgbClr val="007B96"/>
    <a:srgbClr val="02627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555" autoAdjust="0"/>
    <p:restoredTop sz="95423" autoAdjust="0"/>
  </p:normalViewPr>
  <p:slideViewPr>
    <p:cSldViewPr snapToGrid="0">
      <p:cViewPr varScale="1">
        <p:scale>
          <a:sx n="115" d="100"/>
          <a:sy n="115" d="100"/>
        </p:scale>
        <p:origin x="92" y="168"/>
      </p:cViewPr>
      <p:guideLst/>
    </p:cSldViewPr>
  </p:slideViewPr>
  <p:outlineViewPr>
    <p:cViewPr>
      <p:scale>
        <a:sx n="33" d="100"/>
        <a:sy n="33" d="100"/>
      </p:scale>
      <p:origin x="0" y="-69058"/>
    </p:cViewPr>
  </p:outlineViewPr>
  <p:notesTextViewPr>
    <p:cViewPr>
      <p:scale>
        <a:sx n="3" d="2"/>
        <a:sy n="3" d="2"/>
      </p:scale>
      <p:origin x="0" y="0"/>
    </p:cViewPr>
  </p:notesTextViewPr>
  <p:sorterViewPr>
    <p:cViewPr varScale="1">
      <p:scale>
        <a:sx n="100" d="100"/>
        <a:sy n="100" d="100"/>
      </p:scale>
      <p:origin x="0" y="-12680"/>
    </p:cViewPr>
  </p:sorterViewPr>
  <p:notesViewPr>
    <p:cSldViewPr snapToGrid="0" showGuides="1">
      <p:cViewPr varScale="1">
        <p:scale>
          <a:sx n="119" d="100"/>
          <a:sy n="119" d="100"/>
        </p:scale>
        <p:origin x="2052" y="11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FF30E84-8AB4-984D-AFFD-B5A0DAC4A4B3}" type="doc">
      <dgm:prSet loTypeId="urn:microsoft.com/office/officeart/2005/8/layout/vList5" loCatId="" qsTypeId="urn:microsoft.com/office/officeart/2005/8/quickstyle/simple4" qsCatId="simple" csTypeId="urn:microsoft.com/office/officeart/2005/8/colors/accent0_3" csCatId="mainScheme" phldr="1"/>
      <dgm:spPr/>
      <dgm:t>
        <a:bodyPr/>
        <a:lstStyle/>
        <a:p>
          <a:endParaRPr lang="en-US"/>
        </a:p>
      </dgm:t>
    </dgm:pt>
    <dgm:pt modelId="{3A2FBCA2-17D0-144B-88D5-8ACD1362896E}">
      <dgm:prSet phldrT="[Text]" custT="1"/>
      <dgm:spPr/>
      <dgm:t>
        <a:bodyPr/>
        <a:lstStyle/>
        <a:p>
          <a:r>
            <a:rPr lang="en-US" sz="2800" dirty="0"/>
            <a:t>Pattern Name</a:t>
          </a:r>
        </a:p>
      </dgm:t>
    </dgm:pt>
    <dgm:pt modelId="{0251F9F4-D6DB-D04D-B29B-864D8F832BBA}" type="parTrans" cxnId="{491D542F-DC09-F446-A2BB-FD92400720F4}">
      <dgm:prSet/>
      <dgm:spPr/>
      <dgm:t>
        <a:bodyPr/>
        <a:lstStyle/>
        <a:p>
          <a:endParaRPr lang="en-US"/>
        </a:p>
      </dgm:t>
    </dgm:pt>
    <dgm:pt modelId="{2E9D87D8-421A-B745-9B40-DCAF99EBE77F}" type="sibTrans" cxnId="{491D542F-DC09-F446-A2BB-FD92400720F4}">
      <dgm:prSet/>
      <dgm:spPr/>
      <dgm:t>
        <a:bodyPr/>
        <a:lstStyle/>
        <a:p>
          <a:endParaRPr lang="en-US"/>
        </a:p>
      </dgm:t>
    </dgm:pt>
    <dgm:pt modelId="{BA0EBEF8-2084-1340-9F9A-86961DF89729}">
      <dgm:prSet phldrT="[Text]" custT="1"/>
      <dgm:spPr/>
      <dgm:t>
        <a:bodyPr/>
        <a:lstStyle/>
        <a:p>
          <a:r>
            <a:rPr lang="en-US" sz="1600" dirty="0"/>
            <a:t>Describe a design problems, its solutions and consequences in a word or two</a:t>
          </a:r>
        </a:p>
      </dgm:t>
    </dgm:pt>
    <dgm:pt modelId="{F46EDC1B-2439-5D4D-829D-DCD367FAD299}" type="parTrans" cxnId="{C96F1EA7-ECA0-3F40-BA8C-B4208BFD8D9B}">
      <dgm:prSet/>
      <dgm:spPr/>
      <dgm:t>
        <a:bodyPr/>
        <a:lstStyle/>
        <a:p>
          <a:endParaRPr lang="en-US"/>
        </a:p>
      </dgm:t>
    </dgm:pt>
    <dgm:pt modelId="{DD268282-2CAD-F040-9971-5BB07441A20D}" type="sibTrans" cxnId="{C96F1EA7-ECA0-3F40-BA8C-B4208BFD8D9B}">
      <dgm:prSet/>
      <dgm:spPr/>
      <dgm:t>
        <a:bodyPr/>
        <a:lstStyle/>
        <a:p>
          <a:endParaRPr lang="en-US"/>
        </a:p>
      </dgm:t>
    </dgm:pt>
    <dgm:pt modelId="{94E6805B-7EEA-1B45-B684-486D18CDFAE6}">
      <dgm:prSet phldrT="[Text]" custT="1"/>
      <dgm:spPr/>
      <dgm:t>
        <a:bodyPr/>
        <a:lstStyle/>
        <a:p>
          <a:r>
            <a:rPr lang="en-US" altLang="zh-CN" sz="2800" dirty="0"/>
            <a:t>Problem</a:t>
          </a:r>
          <a:endParaRPr lang="en-US" sz="2800" dirty="0"/>
        </a:p>
      </dgm:t>
    </dgm:pt>
    <dgm:pt modelId="{9F06BB5F-86F6-0143-A75E-22D19776B7EA}" type="parTrans" cxnId="{4720061A-7365-B343-943F-61CB25429E7A}">
      <dgm:prSet/>
      <dgm:spPr/>
      <dgm:t>
        <a:bodyPr/>
        <a:lstStyle/>
        <a:p>
          <a:endParaRPr lang="en-US"/>
        </a:p>
      </dgm:t>
    </dgm:pt>
    <dgm:pt modelId="{02A781BC-CC04-4A44-BC97-7D756F614D5F}" type="sibTrans" cxnId="{4720061A-7365-B343-943F-61CB25429E7A}">
      <dgm:prSet/>
      <dgm:spPr/>
      <dgm:t>
        <a:bodyPr/>
        <a:lstStyle/>
        <a:p>
          <a:endParaRPr lang="en-US"/>
        </a:p>
      </dgm:t>
    </dgm:pt>
    <dgm:pt modelId="{46343FB2-BF0E-984D-BA82-F51E8408B3D0}">
      <dgm:prSet phldrT="[Text]" custT="1"/>
      <dgm:spPr/>
      <dgm:t>
        <a:bodyPr/>
        <a:lstStyle/>
        <a:p>
          <a:r>
            <a:rPr lang="en-US" sz="1600" dirty="0"/>
            <a:t>Explain the problem and its context</a:t>
          </a:r>
        </a:p>
      </dgm:t>
    </dgm:pt>
    <dgm:pt modelId="{F4B92B2F-BCD2-6B42-BB5F-17F8AF33DDE9}" type="parTrans" cxnId="{B4841303-304F-0A47-B523-DE7207C7A25D}">
      <dgm:prSet/>
      <dgm:spPr/>
      <dgm:t>
        <a:bodyPr/>
        <a:lstStyle/>
        <a:p>
          <a:endParaRPr lang="en-US"/>
        </a:p>
      </dgm:t>
    </dgm:pt>
    <dgm:pt modelId="{2B99148E-290D-6749-A0C3-2A1373F33CFE}" type="sibTrans" cxnId="{B4841303-304F-0A47-B523-DE7207C7A25D}">
      <dgm:prSet/>
      <dgm:spPr/>
      <dgm:t>
        <a:bodyPr/>
        <a:lstStyle/>
        <a:p>
          <a:endParaRPr lang="en-US"/>
        </a:p>
      </dgm:t>
    </dgm:pt>
    <dgm:pt modelId="{04188F43-B321-3245-AE98-4913C42C3749}">
      <dgm:prSet phldrT="[Text]" custT="1"/>
      <dgm:spPr/>
      <dgm:t>
        <a:bodyPr/>
        <a:lstStyle/>
        <a:p>
          <a:r>
            <a:rPr lang="en-US" sz="1600" dirty="0"/>
            <a:t>Conditions must be met </a:t>
          </a:r>
        </a:p>
      </dgm:t>
    </dgm:pt>
    <dgm:pt modelId="{DF5D4908-FF4E-0D4E-B8B9-7F04531A87C2}" type="parTrans" cxnId="{7CE7A5CA-16CE-494B-8AD7-B83A325688CD}">
      <dgm:prSet/>
      <dgm:spPr/>
      <dgm:t>
        <a:bodyPr/>
        <a:lstStyle/>
        <a:p>
          <a:endParaRPr lang="en-US"/>
        </a:p>
      </dgm:t>
    </dgm:pt>
    <dgm:pt modelId="{2DAE97A7-57BE-1842-B9A7-3A5E51F330BC}" type="sibTrans" cxnId="{7CE7A5CA-16CE-494B-8AD7-B83A325688CD}">
      <dgm:prSet/>
      <dgm:spPr/>
      <dgm:t>
        <a:bodyPr/>
        <a:lstStyle/>
        <a:p>
          <a:endParaRPr lang="en-US"/>
        </a:p>
      </dgm:t>
    </dgm:pt>
    <dgm:pt modelId="{C18132FD-8AD6-784B-84F3-927647808057}">
      <dgm:prSet phldrT="[Text]" custT="1"/>
      <dgm:spPr/>
      <dgm:t>
        <a:bodyPr/>
        <a:lstStyle/>
        <a:p>
          <a:r>
            <a:rPr lang="en-US" sz="2800" dirty="0"/>
            <a:t>Solution</a:t>
          </a:r>
        </a:p>
      </dgm:t>
    </dgm:pt>
    <dgm:pt modelId="{7F506723-3CE9-AB43-8151-16E0387ABA92}" type="parTrans" cxnId="{27221456-A9E8-CE41-AF5B-6F9C4ADE0884}">
      <dgm:prSet/>
      <dgm:spPr/>
      <dgm:t>
        <a:bodyPr/>
        <a:lstStyle/>
        <a:p>
          <a:endParaRPr lang="en-US"/>
        </a:p>
      </dgm:t>
    </dgm:pt>
    <dgm:pt modelId="{6D960225-AB09-A046-B008-87D3B0A62F77}" type="sibTrans" cxnId="{27221456-A9E8-CE41-AF5B-6F9C4ADE0884}">
      <dgm:prSet/>
      <dgm:spPr/>
      <dgm:t>
        <a:bodyPr/>
        <a:lstStyle/>
        <a:p>
          <a:endParaRPr lang="en-US"/>
        </a:p>
      </dgm:t>
    </dgm:pt>
    <dgm:pt modelId="{95DAD088-7E95-CA40-8879-4E28263347DA}">
      <dgm:prSet phldrT="[Text]" custT="1"/>
      <dgm:spPr/>
      <dgm:t>
        <a:bodyPr/>
        <a:lstStyle/>
        <a:p>
          <a:r>
            <a:rPr lang="en-US" sz="1600" dirty="0"/>
            <a:t>Describe the elements that make up the design</a:t>
          </a:r>
        </a:p>
      </dgm:t>
    </dgm:pt>
    <dgm:pt modelId="{0629E407-E357-D94A-85DD-F4A2381BCAE5}" type="parTrans" cxnId="{D35AB237-0508-5A48-80FB-AEDF225CA203}">
      <dgm:prSet/>
      <dgm:spPr/>
      <dgm:t>
        <a:bodyPr/>
        <a:lstStyle/>
        <a:p>
          <a:endParaRPr lang="en-US"/>
        </a:p>
      </dgm:t>
    </dgm:pt>
    <dgm:pt modelId="{DAD283B9-E08A-8047-89DB-6E7E5A9CBBE7}" type="sibTrans" cxnId="{D35AB237-0508-5A48-80FB-AEDF225CA203}">
      <dgm:prSet/>
      <dgm:spPr/>
      <dgm:t>
        <a:bodyPr/>
        <a:lstStyle/>
        <a:p>
          <a:endParaRPr lang="en-US"/>
        </a:p>
      </dgm:t>
    </dgm:pt>
    <dgm:pt modelId="{31A1188A-D58C-0540-971B-9C33A3D30EC2}">
      <dgm:prSet custT="1"/>
      <dgm:spPr/>
      <dgm:t>
        <a:bodyPr/>
        <a:lstStyle/>
        <a:p>
          <a:r>
            <a:rPr lang="en-US" sz="2800" dirty="0"/>
            <a:t>Consequence</a:t>
          </a:r>
        </a:p>
      </dgm:t>
    </dgm:pt>
    <dgm:pt modelId="{C47E5AC1-1D83-594E-95A5-B772C2E3C021}" type="parTrans" cxnId="{BDD49626-5079-C441-9C6D-208C7D0DECF4}">
      <dgm:prSet/>
      <dgm:spPr/>
      <dgm:t>
        <a:bodyPr/>
        <a:lstStyle/>
        <a:p>
          <a:endParaRPr lang="en-US"/>
        </a:p>
      </dgm:t>
    </dgm:pt>
    <dgm:pt modelId="{839E6BBD-41F6-D441-8D88-687F480EFD01}" type="sibTrans" cxnId="{BDD49626-5079-C441-9C6D-208C7D0DECF4}">
      <dgm:prSet/>
      <dgm:spPr/>
      <dgm:t>
        <a:bodyPr/>
        <a:lstStyle/>
        <a:p>
          <a:endParaRPr lang="en-US"/>
        </a:p>
      </dgm:t>
    </dgm:pt>
    <dgm:pt modelId="{8245F97E-2928-4C4F-A5A1-85C48CFB77F7}">
      <dgm:prSet custT="1"/>
      <dgm:spPr/>
      <dgm:t>
        <a:bodyPr/>
        <a:lstStyle/>
        <a:p>
          <a:r>
            <a:rPr lang="en-US" sz="1600" dirty="0"/>
            <a:t>Results and trade-offs of applying the pattern</a:t>
          </a:r>
        </a:p>
      </dgm:t>
    </dgm:pt>
    <dgm:pt modelId="{02B8DE5D-C776-3B4D-86C6-20844286A6E7}" type="parTrans" cxnId="{1E4F620B-4CA6-CE4B-9919-19BE4A2844E5}">
      <dgm:prSet/>
      <dgm:spPr/>
      <dgm:t>
        <a:bodyPr/>
        <a:lstStyle/>
        <a:p>
          <a:endParaRPr lang="en-US"/>
        </a:p>
      </dgm:t>
    </dgm:pt>
    <dgm:pt modelId="{A0EEF837-73BF-4943-8FF4-8D478F8A8D70}" type="sibTrans" cxnId="{1E4F620B-4CA6-CE4B-9919-19BE4A2844E5}">
      <dgm:prSet/>
      <dgm:spPr/>
      <dgm:t>
        <a:bodyPr/>
        <a:lstStyle/>
        <a:p>
          <a:endParaRPr lang="en-US"/>
        </a:p>
      </dgm:t>
    </dgm:pt>
    <dgm:pt modelId="{C7869D30-11C1-9247-AD9F-14B0F2596B00}">
      <dgm:prSet phldrT="[Text]" custT="1"/>
      <dgm:spPr/>
      <dgm:t>
        <a:bodyPr/>
        <a:lstStyle/>
        <a:p>
          <a:r>
            <a:rPr lang="en-US" sz="1600" dirty="0"/>
            <a:t>Relationship, responsibilities, and collaborations</a:t>
          </a:r>
        </a:p>
      </dgm:t>
    </dgm:pt>
    <dgm:pt modelId="{EF113F7C-23F3-4B48-B42A-6550B7CFA222}" type="parTrans" cxnId="{DEE334EA-3A55-B944-ADAD-AC0AAF973314}">
      <dgm:prSet/>
      <dgm:spPr/>
      <dgm:t>
        <a:bodyPr/>
        <a:lstStyle/>
        <a:p>
          <a:endParaRPr lang="en-US"/>
        </a:p>
      </dgm:t>
    </dgm:pt>
    <dgm:pt modelId="{82B68BAA-9877-8543-AD15-3ADCCCFF1A9B}" type="sibTrans" cxnId="{DEE334EA-3A55-B944-ADAD-AC0AAF973314}">
      <dgm:prSet/>
      <dgm:spPr/>
      <dgm:t>
        <a:bodyPr/>
        <a:lstStyle/>
        <a:p>
          <a:endParaRPr lang="en-US"/>
        </a:p>
      </dgm:t>
    </dgm:pt>
    <dgm:pt modelId="{42AD3085-0062-D749-B396-2F682CE0D38E}">
      <dgm:prSet custT="1"/>
      <dgm:spPr/>
      <dgm:t>
        <a:bodyPr/>
        <a:lstStyle/>
        <a:p>
          <a:r>
            <a:rPr lang="en-US" sz="1600" dirty="0"/>
            <a:t>Critical for understanding the costs/benefits</a:t>
          </a:r>
        </a:p>
      </dgm:t>
    </dgm:pt>
    <dgm:pt modelId="{4E78CDB2-67F9-8C4E-AC0E-0E1646C8818E}" type="parTrans" cxnId="{7AD13945-572C-E341-91C5-5AD378C6572D}">
      <dgm:prSet/>
      <dgm:spPr/>
      <dgm:t>
        <a:bodyPr/>
        <a:lstStyle/>
        <a:p>
          <a:endParaRPr lang="en-US"/>
        </a:p>
      </dgm:t>
    </dgm:pt>
    <dgm:pt modelId="{B4AD2DD3-786D-1141-92F9-E11814C921C0}" type="sibTrans" cxnId="{7AD13945-572C-E341-91C5-5AD378C6572D}">
      <dgm:prSet/>
      <dgm:spPr/>
      <dgm:t>
        <a:bodyPr/>
        <a:lstStyle/>
        <a:p>
          <a:endParaRPr lang="en-US"/>
        </a:p>
      </dgm:t>
    </dgm:pt>
    <dgm:pt modelId="{1AFDE019-39D7-2244-B19E-2A352F7D7A4F}" type="pres">
      <dgm:prSet presAssocID="{EFF30E84-8AB4-984D-AFFD-B5A0DAC4A4B3}" presName="Name0" presStyleCnt="0">
        <dgm:presLayoutVars>
          <dgm:dir/>
          <dgm:animLvl val="lvl"/>
          <dgm:resizeHandles val="exact"/>
        </dgm:presLayoutVars>
      </dgm:prSet>
      <dgm:spPr/>
    </dgm:pt>
    <dgm:pt modelId="{E9D40DF9-12BA-E94D-9E24-1382E9E4BD69}" type="pres">
      <dgm:prSet presAssocID="{3A2FBCA2-17D0-144B-88D5-8ACD1362896E}" presName="linNode" presStyleCnt="0"/>
      <dgm:spPr/>
    </dgm:pt>
    <dgm:pt modelId="{52061A9D-7382-2E4F-836A-E3E9AFEFA3C3}" type="pres">
      <dgm:prSet presAssocID="{3A2FBCA2-17D0-144B-88D5-8ACD1362896E}" presName="parentText" presStyleLbl="node1" presStyleIdx="0" presStyleCnt="4">
        <dgm:presLayoutVars>
          <dgm:chMax val="1"/>
          <dgm:bulletEnabled val="1"/>
        </dgm:presLayoutVars>
      </dgm:prSet>
      <dgm:spPr/>
    </dgm:pt>
    <dgm:pt modelId="{0AE76784-5D59-A743-AA47-5BB59FA4DAB7}" type="pres">
      <dgm:prSet presAssocID="{3A2FBCA2-17D0-144B-88D5-8ACD1362896E}" presName="descendantText" presStyleLbl="alignAccFollowNode1" presStyleIdx="0" presStyleCnt="4">
        <dgm:presLayoutVars>
          <dgm:bulletEnabled val="1"/>
        </dgm:presLayoutVars>
      </dgm:prSet>
      <dgm:spPr/>
    </dgm:pt>
    <dgm:pt modelId="{CC68081B-4E0F-9B4E-AF3B-76C640AFA8EA}" type="pres">
      <dgm:prSet presAssocID="{2E9D87D8-421A-B745-9B40-DCAF99EBE77F}" presName="sp" presStyleCnt="0"/>
      <dgm:spPr/>
    </dgm:pt>
    <dgm:pt modelId="{EFBB7E66-A635-B240-A07E-FD200C1F7085}" type="pres">
      <dgm:prSet presAssocID="{94E6805B-7EEA-1B45-B684-486D18CDFAE6}" presName="linNode" presStyleCnt="0"/>
      <dgm:spPr/>
    </dgm:pt>
    <dgm:pt modelId="{629DAA03-DA31-0C4A-B441-2E198200C4D0}" type="pres">
      <dgm:prSet presAssocID="{94E6805B-7EEA-1B45-B684-486D18CDFAE6}" presName="parentText" presStyleLbl="node1" presStyleIdx="1" presStyleCnt="4">
        <dgm:presLayoutVars>
          <dgm:chMax val="1"/>
          <dgm:bulletEnabled val="1"/>
        </dgm:presLayoutVars>
      </dgm:prSet>
      <dgm:spPr/>
    </dgm:pt>
    <dgm:pt modelId="{60BE5020-082D-AF49-8633-E123F720801E}" type="pres">
      <dgm:prSet presAssocID="{94E6805B-7EEA-1B45-B684-486D18CDFAE6}" presName="descendantText" presStyleLbl="alignAccFollowNode1" presStyleIdx="1" presStyleCnt="4">
        <dgm:presLayoutVars>
          <dgm:bulletEnabled val="1"/>
        </dgm:presLayoutVars>
      </dgm:prSet>
      <dgm:spPr/>
    </dgm:pt>
    <dgm:pt modelId="{D9CD2305-A4EC-6A4E-AEEE-6AFCF4B786EB}" type="pres">
      <dgm:prSet presAssocID="{02A781BC-CC04-4A44-BC97-7D756F614D5F}" presName="sp" presStyleCnt="0"/>
      <dgm:spPr/>
    </dgm:pt>
    <dgm:pt modelId="{891B369A-286D-D040-8A6B-53F36CF70E1D}" type="pres">
      <dgm:prSet presAssocID="{C18132FD-8AD6-784B-84F3-927647808057}" presName="linNode" presStyleCnt="0"/>
      <dgm:spPr/>
    </dgm:pt>
    <dgm:pt modelId="{F6C3F537-6E74-4E4D-83EE-39724C655B87}" type="pres">
      <dgm:prSet presAssocID="{C18132FD-8AD6-784B-84F3-927647808057}" presName="parentText" presStyleLbl="node1" presStyleIdx="2" presStyleCnt="4">
        <dgm:presLayoutVars>
          <dgm:chMax val="1"/>
          <dgm:bulletEnabled val="1"/>
        </dgm:presLayoutVars>
      </dgm:prSet>
      <dgm:spPr/>
    </dgm:pt>
    <dgm:pt modelId="{358B8DCD-C6CF-A249-B257-B9B0C3C2D81B}" type="pres">
      <dgm:prSet presAssocID="{C18132FD-8AD6-784B-84F3-927647808057}" presName="descendantText" presStyleLbl="alignAccFollowNode1" presStyleIdx="2" presStyleCnt="4">
        <dgm:presLayoutVars>
          <dgm:bulletEnabled val="1"/>
        </dgm:presLayoutVars>
      </dgm:prSet>
      <dgm:spPr/>
    </dgm:pt>
    <dgm:pt modelId="{FA42F64B-9895-8145-BFF0-1F737CA09607}" type="pres">
      <dgm:prSet presAssocID="{6D960225-AB09-A046-B008-87D3B0A62F77}" presName="sp" presStyleCnt="0"/>
      <dgm:spPr/>
    </dgm:pt>
    <dgm:pt modelId="{40FD3898-B1E5-3542-9DD9-7062759127CF}" type="pres">
      <dgm:prSet presAssocID="{31A1188A-D58C-0540-971B-9C33A3D30EC2}" presName="linNode" presStyleCnt="0"/>
      <dgm:spPr/>
    </dgm:pt>
    <dgm:pt modelId="{B1C09CFA-5BB7-EB4C-A384-D126A17254D2}" type="pres">
      <dgm:prSet presAssocID="{31A1188A-D58C-0540-971B-9C33A3D30EC2}" presName="parentText" presStyleLbl="node1" presStyleIdx="3" presStyleCnt="4">
        <dgm:presLayoutVars>
          <dgm:chMax val="1"/>
          <dgm:bulletEnabled val="1"/>
        </dgm:presLayoutVars>
      </dgm:prSet>
      <dgm:spPr/>
    </dgm:pt>
    <dgm:pt modelId="{1A08C2F4-B0D0-C944-A3D8-10732B5505B0}" type="pres">
      <dgm:prSet presAssocID="{31A1188A-D58C-0540-971B-9C33A3D30EC2}" presName="descendantText" presStyleLbl="alignAccFollowNode1" presStyleIdx="3" presStyleCnt="4">
        <dgm:presLayoutVars>
          <dgm:bulletEnabled val="1"/>
        </dgm:presLayoutVars>
      </dgm:prSet>
      <dgm:spPr/>
    </dgm:pt>
  </dgm:ptLst>
  <dgm:cxnLst>
    <dgm:cxn modelId="{B4841303-304F-0A47-B523-DE7207C7A25D}" srcId="{94E6805B-7EEA-1B45-B684-486D18CDFAE6}" destId="{46343FB2-BF0E-984D-BA82-F51E8408B3D0}" srcOrd="0" destOrd="0" parTransId="{F4B92B2F-BCD2-6B42-BB5F-17F8AF33DDE9}" sibTransId="{2B99148E-290D-6749-A0C3-2A1373F33CFE}"/>
    <dgm:cxn modelId="{1E4F620B-4CA6-CE4B-9919-19BE4A2844E5}" srcId="{31A1188A-D58C-0540-971B-9C33A3D30EC2}" destId="{8245F97E-2928-4C4F-A5A1-85C48CFB77F7}" srcOrd="0" destOrd="0" parTransId="{02B8DE5D-C776-3B4D-86C6-20844286A6E7}" sibTransId="{A0EEF837-73BF-4943-8FF4-8D478F8A8D70}"/>
    <dgm:cxn modelId="{E67B0514-D9EF-8347-8B4D-EB003A5AA41A}" type="presOf" srcId="{C7869D30-11C1-9247-AD9F-14B0F2596B00}" destId="{358B8DCD-C6CF-A249-B257-B9B0C3C2D81B}" srcOrd="0" destOrd="1" presId="urn:microsoft.com/office/officeart/2005/8/layout/vList5"/>
    <dgm:cxn modelId="{4720061A-7365-B343-943F-61CB25429E7A}" srcId="{EFF30E84-8AB4-984D-AFFD-B5A0DAC4A4B3}" destId="{94E6805B-7EEA-1B45-B684-486D18CDFAE6}" srcOrd="1" destOrd="0" parTransId="{9F06BB5F-86F6-0143-A75E-22D19776B7EA}" sibTransId="{02A781BC-CC04-4A44-BC97-7D756F614D5F}"/>
    <dgm:cxn modelId="{BB9B2A1A-5223-3542-956E-72C17612D4F0}" type="presOf" srcId="{C18132FD-8AD6-784B-84F3-927647808057}" destId="{F6C3F537-6E74-4E4D-83EE-39724C655B87}" srcOrd="0" destOrd="0" presId="urn:microsoft.com/office/officeart/2005/8/layout/vList5"/>
    <dgm:cxn modelId="{BDD49626-5079-C441-9C6D-208C7D0DECF4}" srcId="{EFF30E84-8AB4-984D-AFFD-B5A0DAC4A4B3}" destId="{31A1188A-D58C-0540-971B-9C33A3D30EC2}" srcOrd="3" destOrd="0" parTransId="{C47E5AC1-1D83-594E-95A5-B772C2E3C021}" sibTransId="{839E6BBD-41F6-D441-8D88-687F480EFD01}"/>
    <dgm:cxn modelId="{5787A82A-F8C9-7544-A496-EC7BC891D886}" type="presOf" srcId="{42AD3085-0062-D749-B396-2F682CE0D38E}" destId="{1A08C2F4-B0D0-C944-A3D8-10732B5505B0}" srcOrd="0" destOrd="1" presId="urn:microsoft.com/office/officeart/2005/8/layout/vList5"/>
    <dgm:cxn modelId="{491D542F-DC09-F446-A2BB-FD92400720F4}" srcId="{EFF30E84-8AB4-984D-AFFD-B5A0DAC4A4B3}" destId="{3A2FBCA2-17D0-144B-88D5-8ACD1362896E}" srcOrd="0" destOrd="0" parTransId="{0251F9F4-D6DB-D04D-B29B-864D8F832BBA}" sibTransId="{2E9D87D8-421A-B745-9B40-DCAF99EBE77F}"/>
    <dgm:cxn modelId="{D35AB237-0508-5A48-80FB-AEDF225CA203}" srcId="{C18132FD-8AD6-784B-84F3-927647808057}" destId="{95DAD088-7E95-CA40-8879-4E28263347DA}" srcOrd="0" destOrd="0" parTransId="{0629E407-E357-D94A-85DD-F4A2381BCAE5}" sibTransId="{DAD283B9-E08A-8047-89DB-6E7E5A9CBBE7}"/>
    <dgm:cxn modelId="{7AD13945-572C-E341-91C5-5AD378C6572D}" srcId="{31A1188A-D58C-0540-971B-9C33A3D30EC2}" destId="{42AD3085-0062-D749-B396-2F682CE0D38E}" srcOrd="1" destOrd="0" parTransId="{4E78CDB2-67F9-8C4E-AC0E-0E1646C8818E}" sibTransId="{B4AD2DD3-786D-1141-92F9-E11814C921C0}"/>
    <dgm:cxn modelId="{4F1F726F-3D6A-5D4B-86E5-1D8375911E8B}" type="presOf" srcId="{EFF30E84-8AB4-984D-AFFD-B5A0DAC4A4B3}" destId="{1AFDE019-39D7-2244-B19E-2A352F7D7A4F}" srcOrd="0" destOrd="0" presId="urn:microsoft.com/office/officeart/2005/8/layout/vList5"/>
    <dgm:cxn modelId="{27221456-A9E8-CE41-AF5B-6F9C4ADE0884}" srcId="{EFF30E84-8AB4-984D-AFFD-B5A0DAC4A4B3}" destId="{C18132FD-8AD6-784B-84F3-927647808057}" srcOrd="2" destOrd="0" parTransId="{7F506723-3CE9-AB43-8151-16E0387ABA92}" sibTransId="{6D960225-AB09-A046-B008-87D3B0A62F77}"/>
    <dgm:cxn modelId="{E2858684-ABCE-014D-B081-8A8FE27560C9}" type="presOf" srcId="{04188F43-B321-3245-AE98-4913C42C3749}" destId="{60BE5020-082D-AF49-8633-E123F720801E}" srcOrd="0" destOrd="1" presId="urn:microsoft.com/office/officeart/2005/8/layout/vList5"/>
    <dgm:cxn modelId="{EB09E391-2F4F-6F4F-A3B2-131A31A2AF06}" type="presOf" srcId="{31A1188A-D58C-0540-971B-9C33A3D30EC2}" destId="{B1C09CFA-5BB7-EB4C-A384-D126A17254D2}" srcOrd="0" destOrd="0" presId="urn:microsoft.com/office/officeart/2005/8/layout/vList5"/>
    <dgm:cxn modelId="{C67D36A0-1E5E-A143-ADC3-AACDFFC72A4A}" type="presOf" srcId="{95DAD088-7E95-CA40-8879-4E28263347DA}" destId="{358B8DCD-C6CF-A249-B257-B9B0C3C2D81B}" srcOrd="0" destOrd="0" presId="urn:microsoft.com/office/officeart/2005/8/layout/vList5"/>
    <dgm:cxn modelId="{4D805BA6-D109-7744-906B-0F319C85391D}" type="presOf" srcId="{46343FB2-BF0E-984D-BA82-F51E8408B3D0}" destId="{60BE5020-082D-AF49-8633-E123F720801E}" srcOrd="0" destOrd="0" presId="urn:microsoft.com/office/officeart/2005/8/layout/vList5"/>
    <dgm:cxn modelId="{C96F1EA7-ECA0-3F40-BA8C-B4208BFD8D9B}" srcId="{3A2FBCA2-17D0-144B-88D5-8ACD1362896E}" destId="{BA0EBEF8-2084-1340-9F9A-86961DF89729}" srcOrd="0" destOrd="0" parTransId="{F46EDC1B-2439-5D4D-829D-DCD367FAD299}" sibTransId="{DD268282-2CAD-F040-9971-5BB07441A20D}"/>
    <dgm:cxn modelId="{2E7910B4-B406-3E43-9595-836D2049B551}" type="presOf" srcId="{94E6805B-7EEA-1B45-B684-486D18CDFAE6}" destId="{629DAA03-DA31-0C4A-B441-2E198200C4D0}" srcOrd="0" destOrd="0" presId="urn:microsoft.com/office/officeart/2005/8/layout/vList5"/>
    <dgm:cxn modelId="{7CE7A5CA-16CE-494B-8AD7-B83A325688CD}" srcId="{94E6805B-7EEA-1B45-B684-486D18CDFAE6}" destId="{04188F43-B321-3245-AE98-4913C42C3749}" srcOrd="1" destOrd="0" parTransId="{DF5D4908-FF4E-0D4E-B8B9-7F04531A87C2}" sibTransId="{2DAE97A7-57BE-1842-B9A7-3A5E51F330BC}"/>
    <dgm:cxn modelId="{60D42DD1-8CE3-3B4D-85F3-CE27090A97F7}" type="presOf" srcId="{BA0EBEF8-2084-1340-9F9A-86961DF89729}" destId="{0AE76784-5D59-A743-AA47-5BB59FA4DAB7}" srcOrd="0" destOrd="0" presId="urn:microsoft.com/office/officeart/2005/8/layout/vList5"/>
    <dgm:cxn modelId="{DEE334EA-3A55-B944-ADAD-AC0AAF973314}" srcId="{C18132FD-8AD6-784B-84F3-927647808057}" destId="{C7869D30-11C1-9247-AD9F-14B0F2596B00}" srcOrd="1" destOrd="0" parTransId="{EF113F7C-23F3-4B48-B42A-6550B7CFA222}" sibTransId="{82B68BAA-9877-8543-AD15-3ADCCCFF1A9B}"/>
    <dgm:cxn modelId="{C7B3A2F8-A6CE-E84D-A02F-5EF5B0168CF1}" type="presOf" srcId="{8245F97E-2928-4C4F-A5A1-85C48CFB77F7}" destId="{1A08C2F4-B0D0-C944-A3D8-10732B5505B0}" srcOrd="0" destOrd="0" presId="urn:microsoft.com/office/officeart/2005/8/layout/vList5"/>
    <dgm:cxn modelId="{8E8614FE-90CE-CA4F-974E-2846AB59848A}" type="presOf" srcId="{3A2FBCA2-17D0-144B-88D5-8ACD1362896E}" destId="{52061A9D-7382-2E4F-836A-E3E9AFEFA3C3}" srcOrd="0" destOrd="0" presId="urn:microsoft.com/office/officeart/2005/8/layout/vList5"/>
    <dgm:cxn modelId="{56CDA64D-6154-0D4E-8DD8-6016E8EA22EA}" type="presParOf" srcId="{1AFDE019-39D7-2244-B19E-2A352F7D7A4F}" destId="{E9D40DF9-12BA-E94D-9E24-1382E9E4BD69}" srcOrd="0" destOrd="0" presId="urn:microsoft.com/office/officeart/2005/8/layout/vList5"/>
    <dgm:cxn modelId="{8DE97431-38FA-474C-9BAE-7751ABBA40A1}" type="presParOf" srcId="{E9D40DF9-12BA-E94D-9E24-1382E9E4BD69}" destId="{52061A9D-7382-2E4F-836A-E3E9AFEFA3C3}" srcOrd="0" destOrd="0" presId="urn:microsoft.com/office/officeart/2005/8/layout/vList5"/>
    <dgm:cxn modelId="{8DECAC6E-3563-C34E-9070-838353808C5E}" type="presParOf" srcId="{E9D40DF9-12BA-E94D-9E24-1382E9E4BD69}" destId="{0AE76784-5D59-A743-AA47-5BB59FA4DAB7}" srcOrd="1" destOrd="0" presId="urn:microsoft.com/office/officeart/2005/8/layout/vList5"/>
    <dgm:cxn modelId="{F42901DE-A646-2E4D-A5A3-AE7A744DC796}" type="presParOf" srcId="{1AFDE019-39D7-2244-B19E-2A352F7D7A4F}" destId="{CC68081B-4E0F-9B4E-AF3B-76C640AFA8EA}" srcOrd="1" destOrd="0" presId="urn:microsoft.com/office/officeart/2005/8/layout/vList5"/>
    <dgm:cxn modelId="{F752585C-FF63-8E4B-9141-D69DF16FD854}" type="presParOf" srcId="{1AFDE019-39D7-2244-B19E-2A352F7D7A4F}" destId="{EFBB7E66-A635-B240-A07E-FD200C1F7085}" srcOrd="2" destOrd="0" presId="urn:microsoft.com/office/officeart/2005/8/layout/vList5"/>
    <dgm:cxn modelId="{40258F10-A63B-B548-9A51-72B909FEFE81}" type="presParOf" srcId="{EFBB7E66-A635-B240-A07E-FD200C1F7085}" destId="{629DAA03-DA31-0C4A-B441-2E198200C4D0}" srcOrd="0" destOrd="0" presId="urn:microsoft.com/office/officeart/2005/8/layout/vList5"/>
    <dgm:cxn modelId="{3F2F3C87-5F9C-EE47-8651-376955A46746}" type="presParOf" srcId="{EFBB7E66-A635-B240-A07E-FD200C1F7085}" destId="{60BE5020-082D-AF49-8633-E123F720801E}" srcOrd="1" destOrd="0" presId="urn:microsoft.com/office/officeart/2005/8/layout/vList5"/>
    <dgm:cxn modelId="{4711B3DE-F6B4-7347-8E18-D673DFF28F39}" type="presParOf" srcId="{1AFDE019-39D7-2244-B19E-2A352F7D7A4F}" destId="{D9CD2305-A4EC-6A4E-AEEE-6AFCF4B786EB}" srcOrd="3" destOrd="0" presId="urn:microsoft.com/office/officeart/2005/8/layout/vList5"/>
    <dgm:cxn modelId="{074E162A-01CC-764D-B9D3-017D82BE3F6F}" type="presParOf" srcId="{1AFDE019-39D7-2244-B19E-2A352F7D7A4F}" destId="{891B369A-286D-D040-8A6B-53F36CF70E1D}" srcOrd="4" destOrd="0" presId="urn:microsoft.com/office/officeart/2005/8/layout/vList5"/>
    <dgm:cxn modelId="{31C2C8A7-FF25-7C40-81A1-8981D0CAE8C0}" type="presParOf" srcId="{891B369A-286D-D040-8A6B-53F36CF70E1D}" destId="{F6C3F537-6E74-4E4D-83EE-39724C655B87}" srcOrd="0" destOrd="0" presId="urn:microsoft.com/office/officeart/2005/8/layout/vList5"/>
    <dgm:cxn modelId="{8B4EDF11-926E-094A-A387-45AF971A146D}" type="presParOf" srcId="{891B369A-286D-D040-8A6B-53F36CF70E1D}" destId="{358B8DCD-C6CF-A249-B257-B9B0C3C2D81B}" srcOrd="1" destOrd="0" presId="urn:microsoft.com/office/officeart/2005/8/layout/vList5"/>
    <dgm:cxn modelId="{43960747-694A-FF41-8904-9CE32D50FAB5}" type="presParOf" srcId="{1AFDE019-39D7-2244-B19E-2A352F7D7A4F}" destId="{FA42F64B-9895-8145-BFF0-1F737CA09607}" srcOrd="5" destOrd="0" presId="urn:microsoft.com/office/officeart/2005/8/layout/vList5"/>
    <dgm:cxn modelId="{11158763-9BEF-764B-A393-3B95A25577C7}" type="presParOf" srcId="{1AFDE019-39D7-2244-B19E-2A352F7D7A4F}" destId="{40FD3898-B1E5-3542-9DD9-7062759127CF}" srcOrd="6" destOrd="0" presId="urn:microsoft.com/office/officeart/2005/8/layout/vList5"/>
    <dgm:cxn modelId="{D382D597-E46B-0F4D-83DD-E83E7B96C945}" type="presParOf" srcId="{40FD3898-B1E5-3542-9DD9-7062759127CF}" destId="{B1C09CFA-5BB7-EB4C-A384-D126A17254D2}" srcOrd="0" destOrd="0" presId="urn:microsoft.com/office/officeart/2005/8/layout/vList5"/>
    <dgm:cxn modelId="{27C783BA-1CC2-E545-A49A-C8C30D6B54A4}" type="presParOf" srcId="{40FD3898-B1E5-3542-9DD9-7062759127CF}" destId="{1A08C2F4-B0D0-C944-A3D8-10732B5505B0}"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1F5D922-A647-5945-89E1-2B1158E87E7C}" type="doc">
      <dgm:prSet loTypeId="urn:microsoft.com/office/officeart/2005/8/layout/hierarchy3" loCatId="" qsTypeId="urn:microsoft.com/office/officeart/2005/8/quickstyle/simple1" qsCatId="simple" csTypeId="urn:microsoft.com/office/officeart/2005/8/colors/colorful4" csCatId="colorful" phldr="1"/>
      <dgm:spPr/>
      <dgm:t>
        <a:bodyPr/>
        <a:lstStyle/>
        <a:p>
          <a:endParaRPr lang="en-US"/>
        </a:p>
      </dgm:t>
    </dgm:pt>
    <dgm:pt modelId="{41DCB497-4F67-7240-B1C3-DED53DF245ED}">
      <dgm:prSet phldrT="[Text]" custT="1"/>
      <dgm:spPr/>
      <dgm:t>
        <a:bodyPr/>
        <a:lstStyle/>
        <a:p>
          <a:r>
            <a:rPr lang="en-US" sz="1200" b="1" dirty="0"/>
            <a:t>Functional suitability</a:t>
          </a:r>
        </a:p>
      </dgm:t>
    </dgm:pt>
    <dgm:pt modelId="{EF8DA8D5-FCE9-E14D-9897-BF3EC678B95A}" type="parTrans" cxnId="{FFF9D69F-B680-CD4D-822F-03F59C058A3D}">
      <dgm:prSet/>
      <dgm:spPr/>
      <dgm:t>
        <a:bodyPr/>
        <a:lstStyle/>
        <a:p>
          <a:endParaRPr lang="en-US" sz="2800" b="1"/>
        </a:p>
      </dgm:t>
    </dgm:pt>
    <dgm:pt modelId="{5AAC9A2B-AAFE-704A-A72E-E6537DEA1C39}" type="sibTrans" cxnId="{FFF9D69F-B680-CD4D-822F-03F59C058A3D}">
      <dgm:prSet/>
      <dgm:spPr/>
      <dgm:t>
        <a:bodyPr/>
        <a:lstStyle/>
        <a:p>
          <a:endParaRPr lang="en-US" sz="2800" b="1"/>
        </a:p>
      </dgm:t>
    </dgm:pt>
    <dgm:pt modelId="{53C1FC7C-FB8B-ED43-B796-B56D223ECB81}">
      <dgm:prSet phldrT="[Text]" custT="1"/>
      <dgm:spPr/>
      <dgm:t>
        <a:bodyPr/>
        <a:lstStyle/>
        <a:p>
          <a:r>
            <a:rPr lang="en-US" sz="1000" b="1" dirty="0"/>
            <a:t>Functional correctness</a:t>
          </a:r>
        </a:p>
      </dgm:t>
    </dgm:pt>
    <dgm:pt modelId="{05D8882D-F16D-AB43-A3F3-30720E7BFBE0}" type="parTrans" cxnId="{27293FC4-AFA8-C04F-827D-EF7C5DFD5E2F}">
      <dgm:prSet/>
      <dgm:spPr/>
      <dgm:t>
        <a:bodyPr/>
        <a:lstStyle/>
        <a:p>
          <a:endParaRPr lang="en-US" sz="2800" b="1"/>
        </a:p>
      </dgm:t>
    </dgm:pt>
    <dgm:pt modelId="{FA1A555A-A4F9-B143-A6AC-EE0D227AD57C}" type="sibTrans" cxnId="{27293FC4-AFA8-C04F-827D-EF7C5DFD5E2F}">
      <dgm:prSet/>
      <dgm:spPr/>
      <dgm:t>
        <a:bodyPr/>
        <a:lstStyle/>
        <a:p>
          <a:endParaRPr lang="en-US" sz="2800" b="1"/>
        </a:p>
      </dgm:t>
    </dgm:pt>
    <dgm:pt modelId="{444FF2BE-46A6-0C4D-9D6A-8EF2ABCAD744}">
      <dgm:prSet phldrT="[Text]" custT="1"/>
      <dgm:spPr/>
      <dgm:t>
        <a:bodyPr/>
        <a:lstStyle/>
        <a:p>
          <a:r>
            <a:rPr lang="en-US" sz="1000" b="1" dirty="0"/>
            <a:t>Functional complete-ness</a:t>
          </a:r>
        </a:p>
      </dgm:t>
    </dgm:pt>
    <dgm:pt modelId="{136354CD-7547-0F40-90F8-3C436C8B34AB}" type="parTrans" cxnId="{8287EA18-CC81-C647-AE7B-8853F485D1CB}">
      <dgm:prSet/>
      <dgm:spPr/>
      <dgm:t>
        <a:bodyPr/>
        <a:lstStyle/>
        <a:p>
          <a:endParaRPr lang="en-US" sz="2800" b="1"/>
        </a:p>
      </dgm:t>
    </dgm:pt>
    <dgm:pt modelId="{08BBC0FC-E5EF-2F48-9E65-A9D096746A03}" type="sibTrans" cxnId="{8287EA18-CC81-C647-AE7B-8853F485D1CB}">
      <dgm:prSet/>
      <dgm:spPr/>
      <dgm:t>
        <a:bodyPr/>
        <a:lstStyle/>
        <a:p>
          <a:endParaRPr lang="en-US" sz="2800" b="1"/>
        </a:p>
      </dgm:t>
    </dgm:pt>
    <dgm:pt modelId="{2F9FF1B4-EA6C-7C4A-A81D-BD01257A79E7}">
      <dgm:prSet phldrT="[Text]" custT="1"/>
      <dgm:spPr/>
      <dgm:t>
        <a:bodyPr/>
        <a:lstStyle/>
        <a:p>
          <a:r>
            <a:rPr lang="en-US" sz="1200" b="1" dirty="0"/>
            <a:t>Performance efficiency</a:t>
          </a:r>
        </a:p>
      </dgm:t>
    </dgm:pt>
    <dgm:pt modelId="{DA9D38D4-F370-4C44-9EDE-EC75DD5C2DFF}" type="parTrans" cxnId="{B35CECD8-25B5-B043-BE4F-8B988CB5BE56}">
      <dgm:prSet/>
      <dgm:spPr/>
      <dgm:t>
        <a:bodyPr/>
        <a:lstStyle/>
        <a:p>
          <a:endParaRPr lang="en-US" sz="2800" b="1"/>
        </a:p>
      </dgm:t>
    </dgm:pt>
    <dgm:pt modelId="{73A9813E-E570-3849-9A3D-EE8BC43EE56C}" type="sibTrans" cxnId="{B35CECD8-25B5-B043-BE4F-8B988CB5BE56}">
      <dgm:prSet/>
      <dgm:spPr/>
      <dgm:t>
        <a:bodyPr/>
        <a:lstStyle/>
        <a:p>
          <a:endParaRPr lang="en-US" sz="2800" b="1"/>
        </a:p>
      </dgm:t>
    </dgm:pt>
    <dgm:pt modelId="{FDAB69C9-3BA5-8240-A3EA-4A596500E358}">
      <dgm:prSet phldrT="[Text]" custT="1"/>
      <dgm:spPr/>
      <dgm:t>
        <a:bodyPr/>
        <a:lstStyle/>
        <a:p>
          <a:r>
            <a:rPr lang="en-US" sz="1000" b="1" dirty="0"/>
            <a:t>Capacity</a:t>
          </a:r>
        </a:p>
      </dgm:t>
    </dgm:pt>
    <dgm:pt modelId="{EE9B1C0E-FF5B-F64D-97DA-1EFCDC6AC4F0}" type="parTrans" cxnId="{7D24917B-F264-4E45-BDE3-71E6B04AAB54}">
      <dgm:prSet/>
      <dgm:spPr/>
      <dgm:t>
        <a:bodyPr/>
        <a:lstStyle/>
        <a:p>
          <a:endParaRPr lang="en-US" sz="2800" b="1"/>
        </a:p>
      </dgm:t>
    </dgm:pt>
    <dgm:pt modelId="{32666D97-8610-9945-B7FA-DE82EDE8AF0D}" type="sibTrans" cxnId="{7D24917B-F264-4E45-BDE3-71E6B04AAB54}">
      <dgm:prSet/>
      <dgm:spPr/>
      <dgm:t>
        <a:bodyPr/>
        <a:lstStyle/>
        <a:p>
          <a:endParaRPr lang="en-US" sz="2800" b="1"/>
        </a:p>
      </dgm:t>
    </dgm:pt>
    <dgm:pt modelId="{299096F4-3ED2-8C4A-9186-AB4A03B8C0C6}">
      <dgm:prSet phldrT="[Text]" custT="1"/>
      <dgm:spPr/>
      <dgm:t>
        <a:bodyPr/>
        <a:lstStyle/>
        <a:p>
          <a:r>
            <a:rPr lang="en-US" sz="1000" b="1" dirty="0"/>
            <a:t>Resource utilization</a:t>
          </a:r>
        </a:p>
      </dgm:t>
    </dgm:pt>
    <dgm:pt modelId="{3E784F15-FAE9-BB49-95C5-CAC859C56617}" type="parTrans" cxnId="{841DCEAB-77F6-C149-B398-963E03A33824}">
      <dgm:prSet/>
      <dgm:spPr/>
      <dgm:t>
        <a:bodyPr/>
        <a:lstStyle/>
        <a:p>
          <a:endParaRPr lang="en-US" sz="2800" b="1"/>
        </a:p>
      </dgm:t>
    </dgm:pt>
    <dgm:pt modelId="{82A589DB-9981-E041-A7ED-B93DEBADEC5B}" type="sibTrans" cxnId="{841DCEAB-77F6-C149-B398-963E03A33824}">
      <dgm:prSet/>
      <dgm:spPr/>
      <dgm:t>
        <a:bodyPr/>
        <a:lstStyle/>
        <a:p>
          <a:endParaRPr lang="en-US" sz="2800" b="1"/>
        </a:p>
      </dgm:t>
    </dgm:pt>
    <dgm:pt modelId="{FD4DD728-38B2-774B-93E8-0922AD3E17ED}">
      <dgm:prSet phldrT="[Text]" custT="1"/>
      <dgm:spPr/>
      <dgm:t>
        <a:bodyPr/>
        <a:lstStyle/>
        <a:p>
          <a:r>
            <a:rPr lang="en-US" sz="1000" b="1" dirty="0"/>
            <a:t>Functional appropriate-ness</a:t>
          </a:r>
        </a:p>
      </dgm:t>
    </dgm:pt>
    <dgm:pt modelId="{E876EA2D-293D-BC4A-A196-3712A4F5CDB1}" type="parTrans" cxnId="{18F85895-D2F9-9B49-BDF4-644A05E7DFBE}">
      <dgm:prSet/>
      <dgm:spPr/>
      <dgm:t>
        <a:bodyPr/>
        <a:lstStyle/>
        <a:p>
          <a:endParaRPr lang="en-US" sz="2800" b="1"/>
        </a:p>
      </dgm:t>
    </dgm:pt>
    <dgm:pt modelId="{C3859D40-5AA0-844D-825E-EBCAAA87B506}" type="sibTrans" cxnId="{18F85895-D2F9-9B49-BDF4-644A05E7DFBE}">
      <dgm:prSet/>
      <dgm:spPr/>
      <dgm:t>
        <a:bodyPr/>
        <a:lstStyle/>
        <a:p>
          <a:endParaRPr lang="en-US" sz="2800" b="1"/>
        </a:p>
      </dgm:t>
    </dgm:pt>
    <dgm:pt modelId="{2704C766-EA22-D046-80C0-C5A0AF66F85D}">
      <dgm:prSet phldrT="[Text]" custT="1"/>
      <dgm:spPr/>
      <dgm:t>
        <a:bodyPr/>
        <a:lstStyle/>
        <a:p>
          <a:r>
            <a:rPr lang="en-US" sz="1000" b="1" dirty="0"/>
            <a:t>Time behavior</a:t>
          </a:r>
        </a:p>
      </dgm:t>
    </dgm:pt>
    <dgm:pt modelId="{9F0F78F8-60F2-FB40-ACE6-A8E46E10A1BB}" type="parTrans" cxnId="{1E5CE1B3-6395-C843-B3EF-0F8FAF4FD5BD}">
      <dgm:prSet/>
      <dgm:spPr/>
      <dgm:t>
        <a:bodyPr/>
        <a:lstStyle/>
        <a:p>
          <a:endParaRPr lang="en-US" sz="2800" b="1"/>
        </a:p>
      </dgm:t>
    </dgm:pt>
    <dgm:pt modelId="{47C8D04F-C358-9A48-B736-2D8B40E8D061}" type="sibTrans" cxnId="{1E5CE1B3-6395-C843-B3EF-0F8FAF4FD5BD}">
      <dgm:prSet/>
      <dgm:spPr/>
      <dgm:t>
        <a:bodyPr/>
        <a:lstStyle/>
        <a:p>
          <a:endParaRPr lang="en-US" sz="2800" b="1"/>
        </a:p>
      </dgm:t>
    </dgm:pt>
    <dgm:pt modelId="{8F051BCC-AB3B-394F-ADE0-550A8288E9D1}">
      <dgm:prSet custT="1"/>
      <dgm:spPr/>
      <dgm:t>
        <a:bodyPr/>
        <a:lstStyle/>
        <a:p>
          <a:r>
            <a:rPr lang="en-US" sz="1200" b="1" dirty="0" err="1"/>
            <a:t>Compatib-ility</a:t>
          </a:r>
          <a:endParaRPr lang="en-US" sz="1200" b="1" dirty="0"/>
        </a:p>
      </dgm:t>
    </dgm:pt>
    <dgm:pt modelId="{70BF84AD-BF26-A249-B0E7-CCCCE1D37B64}" type="parTrans" cxnId="{F7B636A9-3F1D-4E4B-BBB1-A7922D6922B2}">
      <dgm:prSet/>
      <dgm:spPr/>
      <dgm:t>
        <a:bodyPr/>
        <a:lstStyle/>
        <a:p>
          <a:endParaRPr lang="en-US" sz="2800" b="1"/>
        </a:p>
      </dgm:t>
    </dgm:pt>
    <dgm:pt modelId="{2E3D6173-BE70-F34B-950B-1C3702EC581B}" type="sibTrans" cxnId="{F7B636A9-3F1D-4E4B-BBB1-A7922D6922B2}">
      <dgm:prSet/>
      <dgm:spPr/>
      <dgm:t>
        <a:bodyPr/>
        <a:lstStyle/>
        <a:p>
          <a:endParaRPr lang="en-US" sz="2800" b="1"/>
        </a:p>
      </dgm:t>
    </dgm:pt>
    <dgm:pt modelId="{598FE064-F072-2E43-BEAE-80E649AEA9AE}">
      <dgm:prSet custT="1"/>
      <dgm:spPr/>
      <dgm:t>
        <a:bodyPr/>
        <a:lstStyle/>
        <a:p>
          <a:r>
            <a:rPr lang="en-US" sz="1000" b="1"/>
            <a:t>Interop-erability</a:t>
          </a:r>
          <a:endParaRPr lang="en-US" sz="1000" b="1" dirty="0"/>
        </a:p>
      </dgm:t>
    </dgm:pt>
    <dgm:pt modelId="{224B842B-4E55-914D-977A-0FFA6511356C}" type="parTrans" cxnId="{6CB113AA-9DEA-194E-B4B1-C591C50EA489}">
      <dgm:prSet/>
      <dgm:spPr/>
      <dgm:t>
        <a:bodyPr/>
        <a:lstStyle/>
        <a:p>
          <a:endParaRPr lang="en-US" sz="2800" b="1"/>
        </a:p>
      </dgm:t>
    </dgm:pt>
    <dgm:pt modelId="{BF168AA6-8FD0-D546-926D-CD54C2D9060A}" type="sibTrans" cxnId="{6CB113AA-9DEA-194E-B4B1-C591C50EA489}">
      <dgm:prSet/>
      <dgm:spPr/>
      <dgm:t>
        <a:bodyPr/>
        <a:lstStyle/>
        <a:p>
          <a:endParaRPr lang="en-US" sz="2800" b="1"/>
        </a:p>
      </dgm:t>
    </dgm:pt>
    <dgm:pt modelId="{E6E223AD-5E94-2440-8F3B-B6DE336C4CEC}">
      <dgm:prSet custT="1"/>
      <dgm:spPr/>
      <dgm:t>
        <a:bodyPr/>
        <a:lstStyle/>
        <a:p>
          <a:r>
            <a:rPr lang="en-US" sz="1000" b="1" dirty="0"/>
            <a:t>Co-existence</a:t>
          </a:r>
        </a:p>
      </dgm:t>
    </dgm:pt>
    <dgm:pt modelId="{7E0FC8F8-EB3C-C748-BAEB-624230241256}" type="parTrans" cxnId="{89AA0514-B813-FC49-9C07-87B67F6A64C2}">
      <dgm:prSet/>
      <dgm:spPr/>
      <dgm:t>
        <a:bodyPr/>
        <a:lstStyle/>
        <a:p>
          <a:endParaRPr lang="en-US" sz="2800" b="1"/>
        </a:p>
      </dgm:t>
    </dgm:pt>
    <dgm:pt modelId="{BCD642E1-79CF-A944-A179-9D259CAED5F2}" type="sibTrans" cxnId="{89AA0514-B813-FC49-9C07-87B67F6A64C2}">
      <dgm:prSet/>
      <dgm:spPr/>
      <dgm:t>
        <a:bodyPr/>
        <a:lstStyle/>
        <a:p>
          <a:endParaRPr lang="en-US" sz="2800" b="1"/>
        </a:p>
      </dgm:t>
    </dgm:pt>
    <dgm:pt modelId="{AC1C2011-E47F-F24C-8B7C-4E3BC1DFAB2D}">
      <dgm:prSet custT="1"/>
      <dgm:spPr/>
      <dgm:t>
        <a:bodyPr/>
        <a:lstStyle/>
        <a:p>
          <a:r>
            <a:rPr lang="en-US" sz="1200" b="1" dirty="0"/>
            <a:t>Usability</a:t>
          </a:r>
        </a:p>
      </dgm:t>
    </dgm:pt>
    <dgm:pt modelId="{875C913E-520C-F54F-B29E-C519013B05EF}" type="parTrans" cxnId="{F166A007-9572-FC4E-A4C0-A1502C01C84F}">
      <dgm:prSet/>
      <dgm:spPr/>
      <dgm:t>
        <a:bodyPr/>
        <a:lstStyle/>
        <a:p>
          <a:endParaRPr lang="en-US" sz="2800" b="1"/>
        </a:p>
      </dgm:t>
    </dgm:pt>
    <dgm:pt modelId="{822AF7AC-50EA-A147-96D3-4CCEFC7F8215}" type="sibTrans" cxnId="{F166A007-9572-FC4E-A4C0-A1502C01C84F}">
      <dgm:prSet/>
      <dgm:spPr/>
      <dgm:t>
        <a:bodyPr/>
        <a:lstStyle/>
        <a:p>
          <a:endParaRPr lang="en-US" sz="2800" b="1"/>
        </a:p>
      </dgm:t>
    </dgm:pt>
    <dgm:pt modelId="{B0893E9D-79A1-714C-9815-3E92244E91ED}">
      <dgm:prSet custT="1"/>
      <dgm:spPr/>
      <dgm:t>
        <a:bodyPr/>
        <a:lstStyle/>
        <a:p>
          <a:r>
            <a:rPr lang="en-US" sz="1000" b="1" dirty="0"/>
            <a:t>Operability </a:t>
          </a:r>
        </a:p>
      </dgm:t>
    </dgm:pt>
    <dgm:pt modelId="{BE09F905-F57D-3A41-B986-6174F9DE9EF6}" type="parTrans" cxnId="{970C8F44-585A-5948-930E-9E835ABDD018}">
      <dgm:prSet/>
      <dgm:spPr/>
      <dgm:t>
        <a:bodyPr/>
        <a:lstStyle/>
        <a:p>
          <a:endParaRPr lang="en-US" sz="2800" b="1"/>
        </a:p>
      </dgm:t>
    </dgm:pt>
    <dgm:pt modelId="{9716B081-0A92-BB46-BEA7-6085DD96F792}" type="sibTrans" cxnId="{970C8F44-585A-5948-930E-9E835ABDD018}">
      <dgm:prSet/>
      <dgm:spPr/>
      <dgm:t>
        <a:bodyPr/>
        <a:lstStyle/>
        <a:p>
          <a:endParaRPr lang="en-US" sz="2800" b="1"/>
        </a:p>
      </dgm:t>
    </dgm:pt>
    <dgm:pt modelId="{B38F1EE6-D813-644B-B80E-DC72FD03A0A2}">
      <dgm:prSet custT="1"/>
      <dgm:spPr/>
      <dgm:t>
        <a:bodyPr/>
        <a:lstStyle/>
        <a:p>
          <a:r>
            <a:rPr lang="en-US" sz="1000" b="1" dirty="0"/>
            <a:t>User error protection</a:t>
          </a:r>
        </a:p>
      </dgm:t>
    </dgm:pt>
    <dgm:pt modelId="{35DE522F-B866-F941-BC4D-91F450E2F441}" type="parTrans" cxnId="{FD352A94-4692-BA4B-AFBA-53ED2D5C7456}">
      <dgm:prSet/>
      <dgm:spPr/>
      <dgm:t>
        <a:bodyPr/>
        <a:lstStyle/>
        <a:p>
          <a:endParaRPr lang="en-US" sz="2800" b="1"/>
        </a:p>
      </dgm:t>
    </dgm:pt>
    <dgm:pt modelId="{D872DCFB-4FCB-0A4F-8B9F-20D50B54D705}" type="sibTrans" cxnId="{FD352A94-4692-BA4B-AFBA-53ED2D5C7456}">
      <dgm:prSet/>
      <dgm:spPr/>
      <dgm:t>
        <a:bodyPr/>
        <a:lstStyle/>
        <a:p>
          <a:endParaRPr lang="en-US" sz="2800" b="1"/>
        </a:p>
      </dgm:t>
    </dgm:pt>
    <dgm:pt modelId="{0E8CD457-DF9A-854A-B772-A66C169B0588}">
      <dgm:prSet custT="1"/>
      <dgm:spPr/>
      <dgm:t>
        <a:bodyPr/>
        <a:lstStyle/>
        <a:p>
          <a:r>
            <a:rPr lang="en-US" sz="1200" b="1" dirty="0"/>
            <a:t>Reliability</a:t>
          </a:r>
        </a:p>
      </dgm:t>
    </dgm:pt>
    <dgm:pt modelId="{08F59359-C013-7E47-94F6-E90D860A58DF}" type="parTrans" cxnId="{F60A0691-5045-394F-956D-7F5888590301}">
      <dgm:prSet/>
      <dgm:spPr/>
      <dgm:t>
        <a:bodyPr/>
        <a:lstStyle/>
        <a:p>
          <a:endParaRPr lang="en-US" sz="2800" b="1"/>
        </a:p>
      </dgm:t>
    </dgm:pt>
    <dgm:pt modelId="{8E08FD71-FC03-CB42-A5BD-73669B7ED237}" type="sibTrans" cxnId="{F60A0691-5045-394F-956D-7F5888590301}">
      <dgm:prSet/>
      <dgm:spPr/>
      <dgm:t>
        <a:bodyPr/>
        <a:lstStyle/>
        <a:p>
          <a:endParaRPr lang="en-US" sz="2800" b="1"/>
        </a:p>
      </dgm:t>
    </dgm:pt>
    <dgm:pt modelId="{D01FFA2E-324C-4F44-8F5B-1D93BA14C37D}">
      <dgm:prSet custT="1"/>
      <dgm:spPr/>
      <dgm:t>
        <a:bodyPr/>
        <a:lstStyle/>
        <a:p>
          <a:r>
            <a:rPr lang="en-US" sz="1000" b="1"/>
            <a:t>Availability</a:t>
          </a:r>
          <a:endParaRPr lang="en-US" sz="1000" b="1" dirty="0"/>
        </a:p>
      </dgm:t>
    </dgm:pt>
    <dgm:pt modelId="{883F9595-6196-5F40-B439-137031A0CA92}" type="parTrans" cxnId="{F1127820-0574-C84E-A90D-0BDE230F30CE}">
      <dgm:prSet/>
      <dgm:spPr/>
      <dgm:t>
        <a:bodyPr/>
        <a:lstStyle/>
        <a:p>
          <a:endParaRPr lang="en-US" sz="2800" b="1"/>
        </a:p>
      </dgm:t>
    </dgm:pt>
    <dgm:pt modelId="{B6B99295-B775-EA45-BDE7-A0F66DFE49C2}" type="sibTrans" cxnId="{F1127820-0574-C84E-A90D-0BDE230F30CE}">
      <dgm:prSet/>
      <dgm:spPr/>
      <dgm:t>
        <a:bodyPr/>
        <a:lstStyle/>
        <a:p>
          <a:endParaRPr lang="en-US" sz="2800" b="1"/>
        </a:p>
      </dgm:t>
    </dgm:pt>
    <dgm:pt modelId="{16038EE6-6BF3-4B48-9980-ACC7A6420663}">
      <dgm:prSet custT="1"/>
      <dgm:spPr/>
      <dgm:t>
        <a:bodyPr/>
        <a:lstStyle/>
        <a:p>
          <a:r>
            <a:rPr lang="en-US" sz="1000" b="1" dirty="0" err="1"/>
            <a:t>Recoverab-ility</a:t>
          </a:r>
          <a:endParaRPr lang="en-US" sz="1000" b="1" dirty="0"/>
        </a:p>
      </dgm:t>
    </dgm:pt>
    <dgm:pt modelId="{AE8F0254-C357-F34A-B5AE-12FF6C1B5C26}" type="parTrans" cxnId="{9CB096C1-9AF6-1945-B1A9-5046E66C8772}">
      <dgm:prSet/>
      <dgm:spPr/>
      <dgm:t>
        <a:bodyPr/>
        <a:lstStyle/>
        <a:p>
          <a:endParaRPr lang="en-US" sz="2800" b="1"/>
        </a:p>
      </dgm:t>
    </dgm:pt>
    <dgm:pt modelId="{0B8419AD-1F4A-364B-AB5A-51FA3B4CE4AF}" type="sibTrans" cxnId="{9CB096C1-9AF6-1945-B1A9-5046E66C8772}">
      <dgm:prSet/>
      <dgm:spPr/>
      <dgm:t>
        <a:bodyPr/>
        <a:lstStyle/>
        <a:p>
          <a:endParaRPr lang="en-US" sz="2800" b="1"/>
        </a:p>
      </dgm:t>
    </dgm:pt>
    <dgm:pt modelId="{8DC7C76D-6C75-D742-A16F-9E797B71B627}">
      <dgm:prSet custT="1"/>
      <dgm:spPr/>
      <dgm:t>
        <a:bodyPr/>
        <a:lstStyle/>
        <a:p>
          <a:r>
            <a:rPr lang="en-US" sz="1000" b="1" dirty="0"/>
            <a:t>Maturity </a:t>
          </a:r>
        </a:p>
      </dgm:t>
    </dgm:pt>
    <dgm:pt modelId="{B41E6929-1A8C-EF44-A394-950681650A9E}" type="parTrans" cxnId="{5DBEB98B-738C-ED4F-AD67-E2390B57594D}">
      <dgm:prSet/>
      <dgm:spPr/>
      <dgm:t>
        <a:bodyPr/>
        <a:lstStyle/>
        <a:p>
          <a:endParaRPr lang="en-US" sz="2800" b="1"/>
        </a:p>
      </dgm:t>
    </dgm:pt>
    <dgm:pt modelId="{8FDA92A6-7F3E-944A-8CB4-9242580083D3}" type="sibTrans" cxnId="{5DBEB98B-738C-ED4F-AD67-E2390B57594D}">
      <dgm:prSet/>
      <dgm:spPr/>
      <dgm:t>
        <a:bodyPr/>
        <a:lstStyle/>
        <a:p>
          <a:endParaRPr lang="en-US" sz="2800" b="1"/>
        </a:p>
      </dgm:t>
    </dgm:pt>
    <dgm:pt modelId="{3C53D9CB-B49A-1041-B36E-C876B26C0664}">
      <dgm:prSet custT="1"/>
      <dgm:spPr/>
      <dgm:t>
        <a:bodyPr/>
        <a:lstStyle/>
        <a:p>
          <a:r>
            <a:rPr lang="en-US" sz="1000" b="1" dirty="0"/>
            <a:t>Fault tolerance </a:t>
          </a:r>
        </a:p>
      </dgm:t>
    </dgm:pt>
    <dgm:pt modelId="{9C1B7D37-0A7C-4146-A31B-21D8316E2833}" type="parTrans" cxnId="{107154C8-A30F-114D-8393-F817D0900E82}">
      <dgm:prSet/>
      <dgm:spPr/>
      <dgm:t>
        <a:bodyPr/>
        <a:lstStyle/>
        <a:p>
          <a:endParaRPr lang="en-US" sz="2800" b="1"/>
        </a:p>
      </dgm:t>
    </dgm:pt>
    <dgm:pt modelId="{A56BD4CF-F2CB-3D42-B050-868112FD307A}" type="sibTrans" cxnId="{107154C8-A30F-114D-8393-F817D0900E82}">
      <dgm:prSet/>
      <dgm:spPr/>
      <dgm:t>
        <a:bodyPr/>
        <a:lstStyle/>
        <a:p>
          <a:endParaRPr lang="en-US" sz="2800" b="1"/>
        </a:p>
      </dgm:t>
    </dgm:pt>
    <dgm:pt modelId="{00D42E72-3F24-5446-A532-B962CD556993}">
      <dgm:prSet custT="1"/>
      <dgm:spPr/>
      <dgm:t>
        <a:bodyPr/>
        <a:lstStyle/>
        <a:p>
          <a:r>
            <a:rPr lang="en-US" sz="1200" b="1" dirty="0"/>
            <a:t>Security </a:t>
          </a:r>
        </a:p>
      </dgm:t>
    </dgm:pt>
    <dgm:pt modelId="{018CBCAC-7E13-DC4B-ABAF-4151D091C23E}" type="parTrans" cxnId="{5FE271AD-91AB-E540-8168-456A5C5F4FCA}">
      <dgm:prSet/>
      <dgm:spPr/>
      <dgm:t>
        <a:bodyPr/>
        <a:lstStyle/>
        <a:p>
          <a:endParaRPr lang="en-US" sz="2800" b="1"/>
        </a:p>
      </dgm:t>
    </dgm:pt>
    <dgm:pt modelId="{159A85A7-45FC-764B-8BDD-34079D757EA7}" type="sibTrans" cxnId="{5FE271AD-91AB-E540-8168-456A5C5F4FCA}">
      <dgm:prSet/>
      <dgm:spPr/>
      <dgm:t>
        <a:bodyPr/>
        <a:lstStyle/>
        <a:p>
          <a:endParaRPr lang="en-US" sz="2800" b="1"/>
        </a:p>
      </dgm:t>
    </dgm:pt>
    <dgm:pt modelId="{A6D7EFB5-A92E-044B-B43F-51922C0DC9A0}">
      <dgm:prSet custT="1"/>
      <dgm:spPr/>
      <dgm:t>
        <a:bodyPr/>
        <a:lstStyle/>
        <a:p>
          <a:r>
            <a:rPr lang="en-US" sz="1000" b="1"/>
            <a:t>Integrity </a:t>
          </a:r>
          <a:endParaRPr lang="en-US" sz="1000" b="1" dirty="0"/>
        </a:p>
      </dgm:t>
    </dgm:pt>
    <dgm:pt modelId="{457D7804-6648-244C-B977-5FFA990152B3}" type="parTrans" cxnId="{1E6AFF6D-FD10-F540-B9E2-6756D4679939}">
      <dgm:prSet/>
      <dgm:spPr/>
      <dgm:t>
        <a:bodyPr/>
        <a:lstStyle/>
        <a:p>
          <a:endParaRPr lang="en-US" sz="2800" b="1"/>
        </a:p>
      </dgm:t>
    </dgm:pt>
    <dgm:pt modelId="{58A1200A-74DE-DC4C-BAC0-FA8EE5C767D2}" type="sibTrans" cxnId="{1E6AFF6D-FD10-F540-B9E2-6756D4679939}">
      <dgm:prSet/>
      <dgm:spPr/>
      <dgm:t>
        <a:bodyPr/>
        <a:lstStyle/>
        <a:p>
          <a:endParaRPr lang="en-US" sz="2800" b="1"/>
        </a:p>
      </dgm:t>
    </dgm:pt>
    <dgm:pt modelId="{69292C06-EF1C-1D4C-A419-4BBF1A78C12B}">
      <dgm:prSet custT="1"/>
      <dgm:spPr/>
      <dgm:t>
        <a:bodyPr/>
        <a:lstStyle/>
        <a:p>
          <a:r>
            <a:rPr lang="en-US" sz="1000" b="1"/>
            <a:t>Confidential-ity</a:t>
          </a:r>
          <a:endParaRPr lang="en-US" sz="1000" b="1" dirty="0"/>
        </a:p>
      </dgm:t>
    </dgm:pt>
    <dgm:pt modelId="{7F9F97BE-5130-EC47-A26F-5CE7B8699020}" type="parTrans" cxnId="{771C1A6A-AF9B-F14A-ABCF-24B1ABDA5FE1}">
      <dgm:prSet/>
      <dgm:spPr/>
      <dgm:t>
        <a:bodyPr/>
        <a:lstStyle/>
        <a:p>
          <a:endParaRPr lang="en-US" sz="2800" b="1"/>
        </a:p>
      </dgm:t>
    </dgm:pt>
    <dgm:pt modelId="{11D7078B-256A-0541-9889-01991EA840FB}" type="sibTrans" cxnId="{771C1A6A-AF9B-F14A-ABCF-24B1ABDA5FE1}">
      <dgm:prSet/>
      <dgm:spPr/>
      <dgm:t>
        <a:bodyPr/>
        <a:lstStyle/>
        <a:p>
          <a:endParaRPr lang="en-US" sz="2800" b="1"/>
        </a:p>
      </dgm:t>
    </dgm:pt>
    <dgm:pt modelId="{054BC13C-9C64-9E41-9173-145D9B78BD94}">
      <dgm:prSet custT="1"/>
      <dgm:spPr/>
      <dgm:t>
        <a:bodyPr/>
        <a:lstStyle/>
        <a:p>
          <a:r>
            <a:rPr lang="en-US" sz="1000" b="1"/>
            <a:t>Non-repudiation</a:t>
          </a:r>
          <a:endParaRPr lang="en-US" sz="1000" b="1" dirty="0"/>
        </a:p>
      </dgm:t>
    </dgm:pt>
    <dgm:pt modelId="{2BB9B9E4-5FE5-D147-BAFC-E8ED24A73C6D}" type="parTrans" cxnId="{B7903AE4-8E49-024E-B1CD-62002BD104ED}">
      <dgm:prSet/>
      <dgm:spPr/>
      <dgm:t>
        <a:bodyPr/>
        <a:lstStyle/>
        <a:p>
          <a:endParaRPr lang="en-US" sz="2800" b="1"/>
        </a:p>
      </dgm:t>
    </dgm:pt>
    <dgm:pt modelId="{E99AEB17-6B59-8941-83C7-A066A176A5C1}" type="sibTrans" cxnId="{B7903AE4-8E49-024E-B1CD-62002BD104ED}">
      <dgm:prSet/>
      <dgm:spPr/>
      <dgm:t>
        <a:bodyPr/>
        <a:lstStyle/>
        <a:p>
          <a:endParaRPr lang="en-US" sz="2800" b="1"/>
        </a:p>
      </dgm:t>
    </dgm:pt>
    <dgm:pt modelId="{E18C2833-A402-AE40-AFC4-1A0012C0626B}">
      <dgm:prSet custT="1"/>
      <dgm:spPr/>
      <dgm:t>
        <a:bodyPr/>
        <a:lstStyle/>
        <a:p>
          <a:r>
            <a:rPr lang="en-US" sz="1000" b="1"/>
            <a:t>Accountab-ility</a:t>
          </a:r>
          <a:endParaRPr lang="en-US" sz="1000" b="1" dirty="0"/>
        </a:p>
      </dgm:t>
    </dgm:pt>
    <dgm:pt modelId="{5A68C619-65D3-114E-9776-3746F139E5CA}" type="parTrans" cxnId="{5E14102D-7084-FA4C-AAEB-7A45B235F0D7}">
      <dgm:prSet/>
      <dgm:spPr/>
      <dgm:t>
        <a:bodyPr/>
        <a:lstStyle/>
        <a:p>
          <a:endParaRPr lang="en-US" sz="2800" b="1"/>
        </a:p>
      </dgm:t>
    </dgm:pt>
    <dgm:pt modelId="{42B1A76F-E8A5-F741-9656-0220FB356D62}" type="sibTrans" cxnId="{5E14102D-7084-FA4C-AAEB-7A45B235F0D7}">
      <dgm:prSet/>
      <dgm:spPr/>
      <dgm:t>
        <a:bodyPr/>
        <a:lstStyle/>
        <a:p>
          <a:endParaRPr lang="en-US" sz="2800" b="1"/>
        </a:p>
      </dgm:t>
    </dgm:pt>
    <dgm:pt modelId="{3249E403-7B42-E041-AB57-0829AE25A092}">
      <dgm:prSet custT="1"/>
      <dgm:spPr/>
      <dgm:t>
        <a:bodyPr/>
        <a:lstStyle/>
        <a:p>
          <a:r>
            <a:rPr lang="en-US" sz="1000" b="1"/>
            <a:t>Authent-icity</a:t>
          </a:r>
          <a:endParaRPr lang="en-US" sz="1000" b="1" dirty="0"/>
        </a:p>
      </dgm:t>
    </dgm:pt>
    <dgm:pt modelId="{A5B5B806-C405-5C4C-8827-00133AAE07B2}" type="parTrans" cxnId="{4544BC6D-CC7F-2D44-8851-9CD7A2C4CDC3}">
      <dgm:prSet/>
      <dgm:spPr/>
      <dgm:t>
        <a:bodyPr/>
        <a:lstStyle/>
        <a:p>
          <a:endParaRPr lang="en-US" sz="2800" b="1"/>
        </a:p>
      </dgm:t>
    </dgm:pt>
    <dgm:pt modelId="{98164AA1-8FDF-1F4F-B189-E9577350CB76}" type="sibTrans" cxnId="{4544BC6D-CC7F-2D44-8851-9CD7A2C4CDC3}">
      <dgm:prSet/>
      <dgm:spPr/>
      <dgm:t>
        <a:bodyPr/>
        <a:lstStyle/>
        <a:p>
          <a:endParaRPr lang="en-US" sz="2800" b="1"/>
        </a:p>
      </dgm:t>
    </dgm:pt>
    <dgm:pt modelId="{7A93B62C-5C6F-AC4F-8A7C-ED6B585841C1}">
      <dgm:prSet custT="1"/>
      <dgm:spPr/>
      <dgm:t>
        <a:bodyPr/>
        <a:lstStyle/>
        <a:p>
          <a:r>
            <a:rPr lang="en-US" sz="1200" b="1" dirty="0"/>
            <a:t>Maintain-ability</a:t>
          </a:r>
        </a:p>
      </dgm:t>
    </dgm:pt>
    <dgm:pt modelId="{209C471E-D42A-FA46-93C8-24BE0E89AD9A}" type="parTrans" cxnId="{58FB9503-7E52-BC44-A1F9-12574B538CBE}">
      <dgm:prSet/>
      <dgm:spPr/>
      <dgm:t>
        <a:bodyPr/>
        <a:lstStyle/>
        <a:p>
          <a:endParaRPr lang="en-US" sz="2800" b="1"/>
        </a:p>
      </dgm:t>
    </dgm:pt>
    <dgm:pt modelId="{2C9C703C-A18F-5A4C-819B-12AE8BD3C33E}" type="sibTrans" cxnId="{58FB9503-7E52-BC44-A1F9-12574B538CBE}">
      <dgm:prSet/>
      <dgm:spPr/>
      <dgm:t>
        <a:bodyPr/>
        <a:lstStyle/>
        <a:p>
          <a:endParaRPr lang="en-US" sz="2800" b="1"/>
        </a:p>
      </dgm:t>
    </dgm:pt>
    <dgm:pt modelId="{95F28B24-1712-6849-B4D1-E5648E216B92}">
      <dgm:prSet custT="1"/>
      <dgm:spPr/>
      <dgm:t>
        <a:bodyPr/>
        <a:lstStyle/>
        <a:p>
          <a:r>
            <a:rPr lang="en-US" sz="1000" b="1"/>
            <a:t>Modularity</a:t>
          </a:r>
          <a:endParaRPr lang="en-US" sz="1000" b="1" dirty="0"/>
        </a:p>
      </dgm:t>
    </dgm:pt>
    <dgm:pt modelId="{6FA5CCA6-E064-CA4E-A237-3841FE7B18E9}" type="parTrans" cxnId="{6446CAE3-D817-F244-A5BF-7012A89501D4}">
      <dgm:prSet/>
      <dgm:spPr/>
      <dgm:t>
        <a:bodyPr/>
        <a:lstStyle/>
        <a:p>
          <a:endParaRPr lang="en-US" sz="2800" b="1"/>
        </a:p>
      </dgm:t>
    </dgm:pt>
    <dgm:pt modelId="{85060FCB-9889-A04A-A20E-FA173D032DFF}" type="sibTrans" cxnId="{6446CAE3-D817-F244-A5BF-7012A89501D4}">
      <dgm:prSet/>
      <dgm:spPr/>
      <dgm:t>
        <a:bodyPr/>
        <a:lstStyle/>
        <a:p>
          <a:endParaRPr lang="en-US" sz="2800" b="1"/>
        </a:p>
      </dgm:t>
    </dgm:pt>
    <dgm:pt modelId="{4EE57A1C-0DB5-1F49-B834-B315C0F65072}">
      <dgm:prSet custT="1"/>
      <dgm:spPr/>
      <dgm:t>
        <a:bodyPr/>
        <a:lstStyle/>
        <a:p>
          <a:r>
            <a:rPr lang="en-US" sz="1000" b="1" dirty="0" err="1"/>
            <a:t>Reuseability</a:t>
          </a:r>
          <a:endParaRPr lang="en-US" sz="1000" b="1" dirty="0"/>
        </a:p>
      </dgm:t>
    </dgm:pt>
    <dgm:pt modelId="{EC44253B-0648-334C-A54A-72CE77C60696}" type="parTrans" cxnId="{3E7EFA84-5E35-C846-8C47-63D027B2E805}">
      <dgm:prSet/>
      <dgm:spPr/>
      <dgm:t>
        <a:bodyPr/>
        <a:lstStyle/>
        <a:p>
          <a:endParaRPr lang="en-US" sz="2800" b="1"/>
        </a:p>
      </dgm:t>
    </dgm:pt>
    <dgm:pt modelId="{629D1C23-38C7-5F40-A941-195B4EBC56DE}" type="sibTrans" cxnId="{3E7EFA84-5E35-C846-8C47-63D027B2E805}">
      <dgm:prSet/>
      <dgm:spPr/>
      <dgm:t>
        <a:bodyPr/>
        <a:lstStyle/>
        <a:p>
          <a:endParaRPr lang="en-US" sz="2800" b="1"/>
        </a:p>
      </dgm:t>
    </dgm:pt>
    <dgm:pt modelId="{95CB294F-A2D2-EE47-AB33-C7A9CB36A488}">
      <dgm:prSet custT="1"/>
      <dgm:spPr/>
      <dgm:t>
        <a:bodyPr/>
        <a:lstStyle/>
        <a:p>
          <a:r>
            <a:rPr lang="en-US" sz="1000" b="1" dirty="0" err="1"/>
            <a:t>Modifiab-ility</a:t>
          </a:r>
          <a:endParaRPr lang="en-US" sz="1000" b="1" dirty="0"/>
        </a:p>
      </dgm:t>
    </dgm:pt>
    <dgm:pt modelId="{5354B16A-E11E-1D48-AAFB-7D240D6642F5}" type="parTrans" cxnId="{174E45C5-3B6F-E94E-9A87-07B24C3F8DEE}">
      <dgm:prSet/>
      <dgm:spPr/>
      <dgm:t>
        <a:bodyPr/>
        <a:lstStyle/>
        <a:p>
          <a:endParaRPr lang="en-US" sz="2800" b="1"/>
        </a:p>
      </dgm:t>
    </dgm:pt>
    <dgm:pt modelId="{1EC4D161-9293-3849-AB95-3B40B45A1BB7}" type="sibTrans" cxnId="{174E45C5-3B6F-E94E-9A87-07B24C3F8DEE}">
      <dgm:prSet/>
      <dgm:spPr/>
      <dgm:t>
        <a:bodyPr/>
        <a:lstStyle/>
        <a:p>
          <a:endParaRPr lang="en-US" sz="2800" b="1"/>
        </a:p>
      </dgm:t>
    </dgm:pt>
    <dgm:pt modelId="{A8A21FA9-2703-0548-B6F7-AD6E73BDA1AE}">
      <dgm:prSet custT="1"/>
      <dgm:spPr/>
      <dgm:t>
        <a:bodyPr/>
        <a:lstStyle/>
        <a:p>
          <a:r>
            <a:rPr lang="en-US" sz="1000" b="1" dirty="0"/>
            <a:t>Testability</a:t>
          </a:r>
        </a:p>
      </dgm:t>
    </dgm:pt>
    <dgm:pt modelId="{C464E591-CEA1-414D-AB66-7269B863E3A7}" type="parTrans" cxnId="{9C44E8B8-8AD9-374F-AB5A-E0DFD97DEBC9}">
      <dgm:prSet/>
      <dgm:spPr/>
      <dgm:t>
        <a:bodyPr/>
        <a:lstStyle/>
        <a:p>
          <a:endParaRPr lang="en-US" sz="2800" b="1"/>
        </a:p>
      </dgm:t>
    </dgm:pt>
    <dgm:pt modelId="{AAE35E0D-BBED-974A-8345-D01C85A9A5C3}" type="sibTrans" cxnId="{9C44E8B8-8AD9-374F-AB5A-E0DFD97DEBC9}">
      <dgm:prSet/>
      <dgm:spPr/>
      <dgm:t>
        <a:bodyPr/>
        <a:lstStyle/>
        <a:p>
          <a:endParaRPr lang="en-US" sz="2800" b="1"/>
        </a:p>
      </dgm:t>
    </dgm:pt>
    <dgm:pt modelId="{E9A3D690-F538-1640-BA5A-DA7EF97EEB32}">
      <dgm:prSet custT="1"/>
      <dgm:spPr/>
      <dgm:t>
        <a:bodyPr/>
        <a:lstStyle/>
        <a:p>
          <a:r>
            <a:rPr lang="en-US" sz="1000" b="1" dirty="0" err="1"/>
            <a:t>Analyzab-ility</a:t>
          </a:r>
          <a:endParaRPr lang="en-US" sz="1000" b="1" dirty="0"/>
        </a:p>
      </dgm:t>
    </dgm:pt>
    <dgm:pt modelId="{971C1B5D-67F7-F748-8432-22B7AA5C243E}" type="parTrans" cxnId="{43692E34-E085-3749-8CF1-151B2F9F1C8E}">
      <dgm:prSet/>
      <dgm:spPr/>
      <dgm:t>
        <a:bodyPr/>
        <a:lstStyle/>
        <a:p>
          <a:endParaRPr lang="en-US" sz="2800" b="1"/>
        </a:p>
      </dgm:t>
    </dgm:pt>
    <dgm:pt modelId="{79022E51-1F17-8546-9AC8-3171512E16F1}" type="sibTrans" cxnId="{43692E34-E085-3749-8CF1-151B2F9F1C8E}">
      <dgm:prSet/>
      <dgm:spPr/>
      <dgm:t>
        <a:bodyPr/>
        <a:lstStyle/>
        <a:p>
          <a:endParaRPr lang="en-US" sz="2800" b="1"/>
        </a:p>
      </dgm:t>
    </dgm:pt>
    <dgm:pt modelId="{05F23BCB-22AA-E245-BA73-9BF467A5A01F}">
      <dgm:prSet custT="1"/>
      <dgm:spPr/>
      <dgm:t>
        <a:bodyPr/>
        <a:lstStyle/>
        <a:p>
          <a:r>
            <a:rPr lang="en-US" sz="1200" b="1" dirty="0"/>
            <a:t>Portability</a:t>
          </a:r>
        </a:p>
      </dgm:t>
    </dgm:pt>
    <dgm:pt modelId="{A7E108D9-D194-FE4F-8C1B-3BFABDB65787}" type="parTrans" cxnId="{0B966AC9-2325-1E4E-B0C8-2C19E55D858E}">
      <dgm:prSet/>
      <dgm:spPr/>
      <dgm:t>
        <a:bodyPr/>
        <a:lstStyle/>
        <a:p>
          <a:endParaRPr lang="en-US" sz="2800" b="1"/>
        </a:p>
      </dgm:t>
    </dgm:pt>
    <dgm:pt modelId="{5382DFFD-E064-1D40-BAEB-F6C25F6107AE}" type="sibTrans" cxnId="{0B966AC9-2325-1E4E-B0C8-2C19E55D858E}">
      <dgm:prSet/>
      <dgm:spPr/>
      <dgm:t>
        <a:bodyPr/>
        <a:lstStyle/>
        <a:p>
          <a:endParaRPr lang="en-US" sz="2800" b="1"/>
        </a:p>
      </dgm:t>
    </dgm:pt>
    <dgm:pt modelId="{8AE60BF9-091B-184E-9005-EF4555AA90DF}">
      <dgm:prSet custT="1"/>
      <dgm:spPr/>
      <dgm:t>
        <a:bodyPr/>
        <a:lstStyle/>
        <a:p>
          <a:r>
            <a:rPr lang="en-US" sz="1000" b="1" dirty="0" err="1"/>
            <a:t>Installability</a:t>
          </a:r>
          <a:endParaRPr lang="en-US" sz="1000" b="1" dirty="0"/>
        </a:p>
      </dgm:t>
    </dgm:pt>
    <dgm:pt modelId="{0AE37708-A5CF-DA4C-A40A-ADA98508CC23}" type="parTrans" cxnId="{4CA8B3A9-6F84-F745-A397-B2638DFF7FA3}">
      <dgm:prSet/>
      <dgm:spPr/>
      <dgm:t>
        <a:bodyPr/>
        <a:lstStyle/>
        <a:p>
          <a:endParaRPr lang="en-US" sz="2800" b="1"/>
        </a:p>
      </dgm:t>
    </dgm:pt>
    <dgm:pt modelId="{0DFAB878-B6EC-3647-9263-A4B3AB2CF447}" type="sibTrans" cxnId="{4CA8B3A9-6F84-F745-A397-B2638DFF7FA3}">
      <dgm:prSet/>
      <dgm:spPr/>
      <dgm:t>
        <a:bodyPr/>
        <a:lstStyle/>
        <a:p>
          <a:endParaRPr lang="en-US" sz="2800" b="1"/>
        </a:p>
      </dgm:t>
    </dgm:pt>
    <dgm:pt modelId="{A5365144-998A-224B-BF5C-39352B61A674}">
      <dgm:prSet custT="1"/>
      <dgm:spPr/>
      <dgm:t>
        <a:bodyPr/>
        <a:lstStyle/>
        <a:p>
          <a:r>
            <a:rPr lang="en-US" sz="1000" b="1" dirty="0"/>
            <a:t>Replace-ability</a:t>
          </a:r>
        </a:p>
      </dgm:t>
    </dgm:pt>
    <dgm:pt modelId="{A746390B-A82F-C64B-8145-6D27C88B0E24}" type="parTrans" cxnId="{9A9AB62D-7896-264C-9BC2-3B8F3619D125}">
      <dgm:prSet/>
      <dgm:spPr/>
      <dgm:t>
        <a:bodyPr/>
        <a:lstStyle/>
        <a:p>
          <a:endParaRPr lang="en-US" sz="2800" b="1"/>
        </a:p>
      </dgm:t>
    </dgm:pt>
    <dgm:pt modelId="{7745351C-F63F-B543-AA34-F2D3A0BE0513}" type="sibTrans" cxnId="{9A9AB62D-7896-264C-9BC2-3B8F3619D125}">
      <dgm:prSet/>
      <dgm:spPr/>
      <dgm:t>
        <a:bodyPr/>
        <a:lstStyle/>
        <a:p>
          <a:endParaRPr lang="en-US" sz="2800" b="1"/>
        </a:p>
      </dgm:t>
    </dgm:pt>
    <dgm:pt modelId="{F9D126EF-BE2E-7746-9348-9E369FE47AFA}">
      <dgm:prSet custT="1"/>
      <dgm:spPr/>
      <dgm:t>
        <a:bodyPr/>
        <a:lstStyle/>
        <a:p>
          <a:r>
            <a:rPr lang="en-US" sz="1000" b="1" dirty="0"/>
            <a:t>Adaptability</a:t>
          </a:r>
        </a:p>
      </dgm:t>
    </dgm:pt>
    <dgm:pt modelId="{4B304EE6-B53F-644F-9D12-5306178C6031}" type="parTrans" cxnId="{F81AF2BF-4375-184B-86A7-1E8B65375CB8}">
      <dgm:prSet/>
      <dgm:spPr/>
      <dgm:t>
        <a:bodyPr/>
        <a:lstStyle/>
        <a:p>
          <a:endParaRPr lang="en-US" sz="2800" b="1"/>
        </a:p>
      </dgm:t>
    </dgm:pt>
    <dgm:pt modelId="{C6F6394C-4393-E447-822F-CF280956CC95}" type="sibTrans" cxnId="{F81AF2BF-4375-184B-86A7-1E8B65375CB8}">
      <dgm:prSet/>
      <dgm:spPr/>
      <dgm:t>
        <a:bodyPr/>
        <a:lstStyle/>
        <a:p>
          <a:endParaRPr lang="en-US" sz="2800" b="1"/>
        </a:p>
      </dgm:t>
    </dgm:pt>
    <dgm:pt modelId="{3DA2996A-B9CC-754B-A3CD-41FF8722C935}" type="pres">
      <dgm:prSet presAssocID="{F1F5D922-A647-5945-89E1-2B1158E87E7C}" presName="diagram" presStyleCnt="0">
        <dgm:presLayoutVars>
          <dgm:chPref val="1"/>
          <dgm:dir/>
          <dgm:animOne val="branch"/>
          <dgm:animLvl val="lvl"/>
          <dgm:resizeHandles/>
        </dgm:presLayoutVars>
      </dgm:prSet>
      <dgm:spPr/>
    </dgm:pt>
    <dgm:pt modelId="{F9755A37-50D0-544F-94E1-A8554908B9C7}" type="pres">
      <dgm:prSet presAssocID="{41DCB497-4F67-7240-B1C3-DED53DF245ED}" presName="root" presStyleCnt="0"/>
      <dgm:spPr/>
    </dgm:pt>
    <dgm:pt modelId="{1BEAEB11-0E14-4840-BD0C-C5D28780C2E3}" type="pres">
      <dgm:prSet presAssocID="{41DCB497-4F67-7240-B1C3-DED53DF245ED}" presName="rootComposite" presStyleCnt="0"/>
      <dgm:spPr/>
    </dgm:pt>
    <dgm:pt modelId="{845ED3E6-51AD-1641-949A-0F65BC3E9D79}" type="pres">
      <dgm:prSet presAssocID="{41DCB497-4F67-7240-B1C3-DED53DF245ED}" presName="rootText" presStyleLbl="node1" presStyleIdx="0" presStyleCnt="8"/>
      <dgm:spPr/>
    </dgm:pt>
    <dgm:pt modelId="{79B777F2-00FE-FA4D-9CF1-63BDC88ED8C0}" type="pres">
      <dgm:prSet presAssocID="{41DCB497-4F67-7240-B1C3-DED53DF245ED}" presName="rootConnector" presStyleLbl="node1" presStyleIdx="0" presStyleCnt="8"/>
      <dgm:spPr/>
    </dgm:pt>
    <dgm:pt modelId="{B8CE6112-F86D-E849-B514-086069D887CB}" type="pres">
      <dgm:prSet presAssocID="{41DCB497-4F67-7240-B1C3-DED53DF245ED}" presName="childShape" presStyleCnt="0"/>
      <dgm:spPr/>
    </dgm:pt>
    <dgm:pt modelId="{CEEA02DB-4226-0A4E-9CEE-E4DF1468D4FA}" type="pres">
      <dgm:prSet presAssocID="{05D8882D-F16D-AB43-A3F3-30720E7BFBE0}" presName="Name13" presStyleLbl="parChTrans1D2" presStyleIdx="0" presStyleCnt="27"/>
      <dgm:spPr/>
    </dgm:pt>
    <dgm:pt modelId="{FE0B66B4-D0F6-534A-9FA4-5FFE3999714B}" type="pres">
      <dgm:prSet presAssocID="{53C1FC7C-FB8B-ED43-B796-B56D223ECB81}" presName="childText" presStyleLbl="bgAcc1" presStyleIdx="0" presStyleCnt="27">
        <dgm:presLayoutVars>
          <dgm:bulletEnabled val="1"/>
        </dgm:presLayoutVars>
      </dgm:prSet>
      <dgm:spPr/>
    </dgm:pt>
    <dgm:pt modelId="{0D1F2A58-F3A6-2749-A21E-35A839943671}" type="pres">
      <dgm:prSet presAssocID="{136354CD-7547-0F40-90F8-3C436C8B34AB}" presName="Name13" presStyleLbl="parChTrans1D2" presStyleIdx="1" presStyleCnt="27"/>
      <dgm:spPr/>
    </dgm:pt>
    <dgm:pt modelId="{73301F81-1F1D-3F46-B392-A59C2C4C807C}" type="pres">
      <dgm:prSet presAssocID="{444FF2BE-46A6-0C4D-9D6A-8EF2ABCAD744}" presName="childText" presStyleLbl="bgAcc1" presStyleIdx="1" presStyleCnt="27">
        <dgm:presLayoutVars>
          <dgm:bulletEnabled val="1"/>
        </dgm:presLayoutVars>
      </dgm:prSet>
      <dgm:spPr/>
    </dgm:pt>
    <dgm:pt modelId="{F25706D1-68D7-8C43-A6D7-5B86169F3E21}" type="pres">
      <dgm:prSet presAssocID="{E876EA2D-293D-BC4A-A196-3712A4F5CDB1}" presName="Name13" presStyleLbl="parChTrans1D2" presStyleIdx="2" presStyleCnt="27"/>
      <dgm:spPr/>
    </dgm:pt>
    <dgm:pt modelId="{DDD7714F-70F6-4041-A377-C7AF7CC48C51}" type="pres">
      <dgm:prSet presAssocID="{FD4DD728-38B2-774B-93E8-0922AD3E17ED}" presName="childText" presStyleLbl="bgAcc1" presStyleIdx="2" presStyleCnt="27">
        <dgm:presLayoutVars>
          <dgm:bulletEnabled val="1"/>
        </dgm:presLayoutVars>
      </dgm:prSet>
      <dgm:spPr/>
    </dgm:pt>
    <dgm:pt modelId="{F6F0469B-1C50-4B4D-BF68-CF7F3D49A7AC}" type="pres">
      <dgm:prSet presAssocID="{2F9FF1B4-EA6C-7C4A-A81D-BD01257A79E7}" presName="root" presStyleCnt="0"/>
      <dgm:spPr/>
    </dgm:pt>
    <dgm:pt modelId="{769E2691-6716-7D43-9378-8323DC986804}" type="pres">
      <dgm:prSet presAssocID="{2F9FF1B4-EA6C-7C4A-A81D-BD01257A79E7}" presName="rootComposite" presStyleCnt="0"/>
      <dgm:spPr/>
    </dgm:pt>
    <dgm:pt modelId="{BA133919-C9B4-1F46-8D96-28E5A05EB3DE}" type="pres">
      <dgm:prSet presAssocID="{2F9FF1B4-EA6C-7C4A-A81D-BD01257A79E7}" presName="rootText" presStyleLbl="node1" presStyleIdx="1" presStyleCnt="8"/>
      <dgm:spPr/>
    </dgm:pt>
    <dgm:pt modelId="{C1CC0758-1E89-014B-BCA6-B412B5096445}" type="pres">
      <dgm:prSet presAssocID="{2F9FF1B4-EA6C-7C4A-A81D-BD01257A79E7}" presName="rootConnector" presStyleLbl="node1" presStyleIdx="1" presStyleCnt="8"/>
      <dgm:spPr/>
    </dgm:pt>
    <dgm:pt modelId="{E2153473-BC31-5845-A6D5-1BA6957C2C0E}" type="pres">
      <dgm:prSet presAssocID="{2F9FF1B4-EA6C-7C4A-A81D-BD01257A79E7}" presName="childShape" presStyleCnt="0"/>
      <dgm:spPr/>
    </dgm:pt>
    <dgm:pt modelId="{A9557D1F-C5B3-4E4A-8CE5-F4F68D65AEEB}" type="pres">
      <dgm:prSet presAssocID="{EE9B1C0E-FF5B-F64D-97DA-1EFCDC6AC4F0}" presName="Name13" presStyleLbl="parChTrans1D2" presStyleIdx="3" presStyleCnt="27"/>
      <dgm:spPr/>
    </dgm:pt>
    <dgm:pt modelId="{79124905-5F4B-C442-AA9D-A554D067E1CE}" type="pres">
      <dgm:prSet presAssocID="{FDAB69C9-3BA5-8240-A3EA-4A596500E358}" presName="childText" presStyleLbl="bgAcc1" presStyleIdx="3" presStyleCnt="27">
        <dgm:presLayoutVars>
          <dgm:bulletEnabled val="1"/>
        </dgm:presLayoutVars>
      </dgm:prSet>
      <dgm:spPr/>
    </dgm:pt>
    <dgm:pt modelId="{8AECC5BC-2112-6C47-BA97-C703B279B190}" type="pres">
      <dgm:prSet presAssocID="{3E784F15-FAE9-BB49-95C5-CAC859C56617}" presName="Name13" presStyleLbl="parChTrans1D2" presStyleIdx="4" presStyleCnt="27"/>
      <dgm:spPr/>
    </dgm:pt>
    <dgm:pt modelId="{6023BBE9-C729-A74F-9B11-823A1A565C70}" type="pres">
      <dgm:prSet presAssocID="{299096F4-3ED2-8C4A-9186-AB4A03B8C0C6}" presName="childText" presStyleLbl="bgAcc1" presStyleIdx="4" presStyleCnt="27">
        <dgm:presLayoutVars>
          <dgm:bulletEnabled val="1"/>
        </dgm:presLayoutVars>
      </dgm:prSet>
      <dgm:spPr/>
    </dgm:pt>
    <dgm:pt modelId="{6A58B61E-B9B8-664C-AF64-AB9D200576BF}" type="pres">
      <dgm:prSet presAssocID="{9F0F78F8-60F2-FB40-ACE6-A8E46E10A1BB}" presName="Name13" presStyleLbl="parChTrans1D2" presStyleIdx="5" presStyleCnt="27"/>
      <dgm:spPr/>
    </dgm:pt>
    <dgm:pt modelId="{F8F89AFA-7427-B447-B5EA-897B3007A5D0}" type="pres">
      <dgm:prSet presAssocID="{2704C766-EA22-D046-80C0-C5A0AF66F85D}" presName="childText" presStyleLbl="bgAcc1" presStyleIdx="5" presStyleCnt="27">
        <dgm:presLayoutVars>
          <dgm:bulletEnabled val="1"/>
        </dgm:presLayoutVars>
      </dgm:prSet>
      <dgm:spPr/>
    </dgm:pt>
    <dgm:pt modelId="{D5782773-546F-4B43-B653-C19630E96BA7}" type="pres">
      <dgm:prSet presAssocID="{8F051BCC-AB3B-394F-ADE0-550A8288E9D1}" presName="root" presStyleCnt="0"/>
      <dgm:spPr/>
    </dgm:pt>
    <dgm:pt modelId="{640E051F-BBD0-6741-9C3C-B97A7DCE4BF5}" type="pres">
      <dgm:prSet presAssocID="{8F051BCC-AB3B-394F-ADE0-550A8288E9D1}" presName="rootComposite" presStyleCnt="0"/>
      <dgm:spPr/>
    </dgm:pt>
    <dgm:pt modelId="{07B8B408-BBEA-5347-BC4A-13FA8D964551}" type="pres">
      <dgm:prSet presAssocID="{8F051BCC-AB3B-394F-ADE0-550A8288E9D1}" presName="rootText" presStyleLbl="node1" presStyleIdx="2" presStyleCnt="8"/>
      <dgm:spPr/>
    </dgm:pt>
    <dgm:pt modelId="{3EA10360-C008-6E4F-801E-D8671B796508}" type="pres">
      <dgm:prSet presAssocID="{8F051BCC-AB3B-394F-ADE0-550A8288E9D1}" presName="rootConnector" presStyleLbl="node1" presStyleIdx="2" presStyleCnt="8"/>
      <dgm:spPr/>
    </dgm:pt>
    <dgm:pt modelId="{4958449E-9195-834A-9D01-00FEC0F80FDB}" type="pres">
      <dgm:prSet presAssocID="{8F051BCC-AB3B-394F-ADE0-550A8288E9D1}" presName="childShape" presStyleCnt="0"/>
      <dgm:spPr/>
    </dgm:pt>
    <dgm:pt modelId="{9F877505-089D-AE47-A1F1-6C24D9394F4F}" type="pres">
      <dgm:prSet presAssocID="{224B842B-4E55-914D-977A-0FFA6511356C}" presName="Name13" presStyleLbl="parChTrans1D2" presStyleIdx="6" presStyleCnt="27"/>
      <dgm:spPr/>
    </dgm:pt>
    <dgm:pt modelId="{6FE81644-B710-2848-8BE0-2E9C1E143939}" type="pres">
      <dgm:prSet presAssocID="{598FE064-F072-2E43-BEAE-80E649AEA9AE}" presName="childText" presStyleLbl="bgAcc1" presStyleIdx="6" presStyleCnt="27">
        <dgm:presLayoutVars>
          <dgm:bulletEnabled val="1"/>
        </dgm:presLayoutVars>
      </dgm:prSet>
      <dgm:spPr/>
    </dgm:pt>
    <dgm:pt modelId="{40E2CB40-9B00-E748-B505-5DD3E635E558}" type="pres">
      <dgm:prSet presAssocID="{7E0FC8F8-EB3C-C748-BAEB-624230241256}" presName="Name13" presStyleLbl="parChTrans1D2" presStyleIdx="7" presStyleCnt="27"/>
      <dgm:spPr/>
    </dgm:pt>
    <dgm:pt modelId="{3632657C-BFC7-224C-84FA-CA5FAF7AD56D}" type="pres">
      <dgm:prSet presAssocID="{E6E223AD-5E94-2440-8F3B-B6DE336C4CEC}" presName="childText" presStyleLbl="bgAcc1" presStyleIdx="7" presStyleCnt="27">
        <dgm:presLayoutVars>
          <dgm:bulletEnabled val="1"/>
        </dgm:presLayoutVars>
      </dgm:prSet>
      <dgm:spPr/>
    </dgm:pt>
    <dgm:pt modelId="{98B7D865-64B7-E34C-AC7A-85423EB28E74}" type="pres">
      <dgm:prSet presAssocID="{AC1C2011-E47F-F24C-8B7C-4E3BC1DFAB2D}" presName="root" presStyleCnt="0"/>
      <dgm:spPr/>
    </dgm:pt>
    <dgm:pt modelId="{6F698E34-A0C1-DB47-BA5F-E9ED61FC76FC}" type="pres">
      <dgm:prSet presAssocID="{AC1C2011-E47F-F24C-8B7C-4E3BC1DFAB2D}" presName="rootComposite" presStyleCnt="0"/>
      <dgm:spPr/>
    </dgm:pt>
    <dgm:pt modelId="{20E4A332-023C-354A-A82F-E68BD57D1F45}" type="pres">
      <dgm:prSet presAssocID="{AC1C2011-E47F-F24C-8B7C-4E3BC1DFAB2D}" presName="rootText" presStyleLbl="node1" presStyleIdx="3" presStyleCnt="8"/>
      <dgm:spPr/>
    </dgm:pt>
    <dgm:pt modelId="{8D2DA61F-636E-4C4F-917A-A69C97043AB4}" type="pres">
      <dgm:prSet presAssocID="{AC1C2011-E47F-F24C-8B7C-4E3BC1DFAB2D}" presName="rootConnector" presStyleLbl="node1" presStyleIdx="3" presStyleCnt="8"/>
      <dgm:spPr/>
    </dgm:pt>
    <dgm:pt modelId="{3D423C43-8A36-9449-8EE3-38CC78B49084}" type="pres">
      <dgm:prSet presAssocID="{AC1C2011-E47F-F24C-8B7C-4E3BC1DFAB2D}" presName="childShape" presStyleCnt="0"/>
      <dgm:spPr/>
    </dgm:pt>
    <dgm:pt modelId="{96C0B8AD-0DBD-D346-8EE3-09BFB11167B9}" type="pres">
      <dgm:prSet presAssocID="{BE09F905-F57D-3A41-B986-6174F9DE9EF6}" presName="Name13" presStyleLbl="parChTrans1D2" presStyleIdx="8" presStyleCnt="27"/>
      <dgm:spPr/>
    </dgm:pt>
    <dgm:pt modelId="{DA57115A-100A-0B4A-9BAC-ABEC59ABB382}" type="pres">
      <dgm:prSet presAssocID="{B0893E9D-79A1-714C-9815-3E92244E91ED}" presName="childText" presStyleLbl="bgAcc1" presStyleIdx="8" presStyleCnt="27">
        <dgm:presLayoutVars>
          <dgm:bulletEnabled val="1"/>
        </dgm:presLayoutVars>
      </dgm:prSet>
      <dgm:spPr/>
    </dgm:pt>
    <dgm:pt modelId="{DD922611-B3FD-504D-B7FB-01A6B7FC4849}" type="pres">
      <dgm:prSet presAssocID="{35DE522F-B866-F941-BC4D-91F450E2F441}" presName="Name13" presStyleLbl="parChTrans1D2" presStyleIdx="9" presStyleCnt="27"/>
      <dgm:spPr/>
    </dgm:pt>
    <dgm:pt modelId="{3394CABE-AB99-1C4A-B9C0-729743D086F2}" type="pres">
      <dgm:prSet presAssocID="{B38F1EE6-D813-644B-B80E-DC72FD03A0A2}" presName="childText" presStyleLbl="bgAcc1" presStyleIdx="9" presStyleCnt="27">
        <dgm:presLayoutVars>
          <dgm:bulletEnabled val="1"/>
        </dgm:presLayoutVars>
      </dgm:prSet>
      <dgm:spPr/>
    </dgm:pt>
    <dgm:pt modelId="{4EDD79EB-12A8-3845-8B34-819F37DDE97D}" type="pres">
      <dgm:prSet presAssocID="{0E8CD457-DF9A-854A-B772-A66C169B0588}" presName="root" presStyleCnt="0"/>
      <dgm:spPr/>
    </dgm:pt>
    <dgm:pt modelId="{5FD2D44A-9250-6242-A721-DECC9E950A9E}" type="pres">
      <dgm:prSet presAssocID="{0E8CD457-DF9A-854A-B772-A66C169B0588}" presName="rootComposite" presStyleCnt="0"/>
      <dgm:spPr/>
    </dgm:pt>
    <dgm:pt modelId="{8A3AFC21-FCDC-294F-83C4-28C57F26AA02}" type="pres">
      <dgm:prSet presAssocID="{0E8CD457-DF9A-854A-B772-A66C169B0588}" presName="rootText" presStyleLbl="node1" presStyleIdx="4" presStyleCnt="8"/>
      <dgm:spPr/>
    </dgm:pt>
    <dgm:pt modelId="{5627C395-5AEB-6049-AFCA-210CC7A007BA}" type="pres">
      <dgm:prSet presAssocID="{0E8CD457-DF9A-854A-B772-A66C169B0588}" presName="rootConnector" presStyleLbl="node1" presStyleIdx="4" presStyleCnt="8"/>
      <dgm:spPr/>
    </dgm:pt>
    <dgm:pt modelId="{B64C6DDD-FB4D-B245-AE67-CC0175529B3C}" type="pres">
      <dgm:prSet presAssocID="{0E8CD457-DF9A-854A-B772-A66C169B0588}" presName="childShape" presStyleCnt="0"/>
      <dgm:spPr/>
    </dgm:pt>
    <dgm:pt modelId="{E976EDA8-6C28-DE4A-87DF-710404B66FFB}" type="pres">
      <dgm:prSet presAssocID="{883F9595-6196-5F40-B439-137031A0CA92}" presName="Name13" presStyleLbl="parChTrans1D2" presStyleIdx="10" presStyleCnt="27"/>
      <dgm:spPr/>
    </dgm:pt>
    <dgm:pt modelId="{23B72943-9D2C-B447-9862-078C01E5CD48}" type="pres">
      <dgm:prSet presAssocID="{D01FFA2E-324C-4F44-8F5B-1D93BA14C37D}" presName="childText" presStyleLbl="bgAcc1" presStyleIdx="10" presStyleCnt="27">
        <dgm:presLayoutVars>
          <dgm:bulletEnabled val="1"/>
        </dgm:presLayoutVars>
      </dgm:prSet>
      <dgm:spPr/>
    </dgm:pt>
    <dgm:pt modelId="{9DD1C069-7EFF-BE4E-9BEF-C0171B20E754}" type="pres">
      <dgm:prSet presAssocID="{AE8F0254-C357-F34A-B5AE-12FF6C1B5C26}" presName="Name13" presStyleLbl="parChTrans1D2" presStyleIdx="11" presStyleCnt="27"/>
      <dgm:spPr/>
    </dgm:pt>
    <dgm:pt modelId="{14B23716-2CC8-5148-A061-F33F23804BE5}" type="pres">
      <dgm:prSet presAssocID="{16038EE6-6BF3-4B48-9980-ACC7A6420663}" presName="childText" presStyleLbl="bgAcc1" presStyleIdx="11" presStyleCnt="27">
        <dgm:presLayoutVars>
          <dgm:bulletEnabled val="1"/>
        </dgm:presLayoutVars>
      </dgm:prSet>
      <dgm:spPr/>
    </dgm:pt>
    <dgm:pt modelId="{B558153D-11A8-6142-B758-300ACA5246DD}" type="pres">
      <dgm:prSet presAssocID="{B41E6929-1A8C-EF44-A394-950681650A9E}" presName="Name13" presStyleLbl="parChTrans1D2" presStyleIdx="12" presStyleCnt="27"/>
      <dgm:spPr/>
    </dgm:pt>
    <dgm:pt modelId="{5F283CA6-EFED-9B45-B629-D2FA0BF4ADCB}" type="pres">
      <dgm:prSet presAssocID="{8DC7C76D-6C75-D742-A16F-9E797B71B627}" presName="childText" presStyleLbl="bgAcc1" presStyleIdx="12" presStyleCnt="27">
        <dgm:presLayoutVars>
          <dgm:bulletEnabled val="1"/>
        </dgm:presLayoutVars>
      </dgm:prSet>
      <dgm:spPr/>
    </dgm:pt>
    <dgm:pt modelId="{12865B71-5B1C-3140-BFB5-38937DC9BCE6}" type="pres">
      <dgm:prSet presAssocID="{9C1B7D37-0A7C-4146-A31B-21D8316E2833}" presName="Name13" presStyleLbl="parChTrans1D2" presStyleIdx="13" presStyleCnt="27"/>
      <dgm:spPr/>
    </dgm:pt>
    <dgm:pt modelId="{ABA92FFD-011E-CD40-84AF-075B95B64B93}" type="pres">
      <dgm:prSet presAssocID="{3C53D9CB-B49A-1041-B36E-C876B26C0664}" presName="childText" presStyleLbl="bgAcc1" presStyleIdx="13" presStyleCnt="27">
        <dgm:presLayoutVars>
          <dgm:bulletEnabled val="1"/>
        </dgm:presLayoutVars>
      </dgm:prSet>
      <dgm:spPr/>
    </dgm:pt>
    <dgm:pt modelId="{BA4AF88A-9F88-3B47-A7E0-FF47907435A1}" type="pres">
      <dgm:prSet presAssocID="{00D42E72-3F24-5446-A532-B962CD556993}" presName="root" presStyleCnt="0"/>
      <dgm:spPr/>
    </dgm:pt>
    <dgm:pt modelId="{73E51ADC-1E5D-264D-9298-5FB5C1963DAD}" type="pres">
      <dgm:prSet presAssocID="{00D42E72-3F24-5446-A532-B962CD556993}" presName="rootComposite" presStyleCnt="0"/>
      <dgm:spPr/>
    </dgm:pt>
    <dgm:pt modelId="{7C4B08AE-504D-5445-8927-ABADC132B1EA}" type="pres">
      <dgm:prSet presAssocID="{00D42E72-3F24-5446-A532-B962CD556993}" presName="rootText" presStyleLbl="node1" presStyleIdx="5" presStyleCnt="8"/>
      <dgm:spPr/>
    </dgm:pt>
    <dgm:pt modelId="{7E8E6DBD-621F-D641-8A93-A92DC836FF95}" type="pres">
      <dgm:prSet presAssocID="{00D42E72-3F24-5446-A532-B962CD556993}" presName="rootConnector" presStyleLbl="node1" presStyleIdx="5" presStyleCnt="8"/>
      <dgm:spPr/>
    </dgm:pt>
    <dgm:pt modelId="{51D245AE-8965-5241-B830-73449F62C854}" type="pres">
      <dgm:prSet presAssocID="{00D42E72-3F24-5446-A532-B962CD556993}" presName="childShape" presStyleCnt="0"/>
      <dgm:spPr/>
    </dgm:pt>
    <dgm:pt modelId="{6C7CCA5F-C27C-C242-A47B-5B9938F66569}" type="pres">
      <dgm:prSet presAssocID="{457D7804-6648-244C-B977-5FFA990152B3}" presName="Name13" presStyleLbl="parChTrans1D2" presStyleIdx="14" presStyleCnt="27"/>
      <dgm:spPr/>
    </dgm:pt>
    <dgm:pt modelId="{9B3581C4-2FD4-694B-98B7-571A5B50C826}" type="pres">
      <dgm:prSet presAssocID="{A6D7EFB5-A92E-044B-B43F-51922C0DC9A0}" presName="childText" presStyleLbl="bgAcc1" presStyleIdx="14" presStyleCnt="27">
        <dgm:presLayoutVars>
          <dgm:bulletEnabled val="1"/>
        </dgm:presLayoutVars>
      </dgm:prSet>
      <dgm:spPr/>
    </dgm:pt>
    <dgm:pt modelId="{4236FFC8-1C6E-D94D-BE64-0D9C3F213F9C}" type="pres">
      <dgm:prSet presAssocID="{7F9F97BE-5130-EC47-A26F-5CE7B8699020}" presName="Name13" presStyleLbl="parChTrans1D2" presStyleIdx="15" presStyleCnt="27"/>
      <dgm:spPr/>
    </dgm:pt>
    <dgm:pt modelId="{997B334E-E3E7-484A-94FD-9FE98B06E5D3}" type="pres">
      <dgm:prSet presAssocID="{69292C06-EF1C-1D4C-A419-4BBF1A78C12B}" presName="childText" presStyleLbl="bgAcc1" presStyleIdx="15" presStyleCnt="27">
        <dgm:presLayoutVars>
          <dgm:bulletEnabled val="1"/>
        </dgm:presLayoutVars>
      </dgm:prSet>
      <dgm:spPr/>
    </dgm:pt>
    <dgm:pt modelId="{1F173F23-D7E9-2140-98A9-81B7F6662385}" type="pres">
      <dgm:prSet presAssocID="{2BB9B9E4-5FE5-D147-BAFC-E8ED24A73C6D}" presName="Name13" presStyleLbl="parChTrans1D2" presStyleIdx="16" presStyleCnt="27"/>
      <dgm:spPr/>
    </dgm:pt>
    <dgm:pt modelId="{EE3028E2-F2A6-A548-A078-22AA4CF2097D}" type="pres">
      <dgm:prSet presAssocID="{054BC13C-9C64-9E41-9173-145D9B78BD94}" presName="childText" presStyleLbl="bgAcc1" presStyleIdx="16" presStyleCnt="27">
        <dgm:presLayoutVars>
          <dgm:bulletEnabled val="1"/>
        </dgm:presLayoutVars>
      </dgm:prSet>
      <dgm:spPr/>
    </dgm:pt>
    <dgm:pt modelId="{35EA8B6E-7CBA-3C46-ACBA-B28BF59A2486}" type="pres">
      <dgm:prSet presAssocID="{5A68C619-65D3-114E-9776-3746F139E5CA}" presName="Name13" presStyleLbl="parChTrans1D2" presStyleIdx="17" presStyleCnt="27"/>
      <dgm:spPr/>
    </dgm:pt>
    <dgm:pt modelId="{092E03E6-0390-364F-B243-BCD0C52801E2}" type="pres">
      <dgm:prSet presAssocID="{E18C2833-A402-AE40-AFC4-1A0012C0626B}" presName="childText" presStyleLbl="bgAcc1" presStyleIdx="17" presStyleCnt="27">
        <dgm:presLayoutVars>
          <dgm:bulletEnabled val="1"/>
        </dgm:presLayoutVars>
      </dgm:prSet>
      <dgm:spPr/>
    </dgm:pt>
    <dgm:pt modelId="{5E914F32-FE04-9D4B-B1A1-C47F3DB5E6F2}" type="pres">
      <dgm:prSet presAssocID="{A5B5B806-C405-5C4C-8827-00133AAE07B2}" presName="Name13" presStyleLbl="parChTrans1D2" presStyleIdx="18" presStyleCnt="27"/>
      <dgm:spPr/>
    </dgm:pt>
    <dgm:pt modelId="{CC575E2B-BF36-C244-BFA9-0A26DD34CB23}" type="pres">
      <dgm:prSet presAssocID="{3249E403-7B42-E041-AB57-0829AE25A092}" presName="childText" presStyleLbl="bgAcc1" presStyleIdx="18" presStyleCnt="27">
        <dgm:presLayoutVars>
          <dgm:bulletEnabled val="1"/>
        </dgm:presLayoutVars>
      </dgm:prSet>
      <dgm:spPr/>
    </dgm:pt>
    <dgm:pt modelId="{14B39D54-97F4-A642-8172-D4845DF6B17C}" type="pres">
      <dgm:prSet presAssocID="{7A93B62C-5C6F-AC4F-8A7C-ED6B585841C1}" presName="root" presStyleCnt="0"/>
      <dgm:spPr/>
    </dgm:pt>
    <dgm:pt modelId="{3ED6C7EF-24BB-7342-8D42-B1DAABDCCBDF}" type="pres">
      <dgm:prSet presAssocID="{7A93B62C-5C6F-AC4F-8A7C-ED6B585841C1}" presName="rootComposite" presStyleCnt="0"/>
      <dgm:spPr/>
    </dgm:pt>
    <dgm:pt modelId="{51CA69B9-995A-3146-AEC4-A30299EAFD91}" type="pres">
      <dgm:prSet presAssocID="{7A93B62C-5C6F-AC4F-8A7C-ED6B585841C1}" presName="rootText" presStyleLbl="node1" presStyleIdx="6" presStyleCnt="8"/>
      <dgm:spPr/>
    </dgm:pt>
    <dgm:pt modelId="{A3EBC1A4-3CA1-964A-8FB8-1070D94A0A1C}" type="pres">
      <dgm:prSet presAssocID="{7A93B62C-5C6F-AC4F-8A7C-ED6B585841C1}" presName="rootConnector" presStyleLbl="node1" presStyleIdx="6" presStyleCnt="8"/>
      <dgm:spPr/>
    </dgm:pt>
    <dgm:pt modelId="{A8A13AA4-94BD-1E4B-9957-85A2CC29447C}" type="pres">
      <dgm:prSet presAssocID="{7A93B62C-5C6F-AC4F-8A7C-ED6B585841C1}" presName="childShape" presStyleCnt="0"/>
      <dgm:spPr/>
    </dgm:pt>
    <dgm:pt modelId="{437448C7-8D9E-894B-8A39-BF62597BFD1F}" type="pres">
      <dgm:prSet presAssocID="{6FA5CCA6-E064-CA4E-A237-3841FE7B18E9}" presName="Name13" presStyleLbl="parChTrans1D2" presStyleIdx="19" presStyleCnt="27"/>
      <dgm:spPr/>
    </dgm:pt>
    <dgm:pt modelId="{80FE65BA-CA7D-9B4B-8240-226E315E8C05}" type="pres">
      <dgm:prSet presAssocID="{95F28B24-1712-6849-B4D1-E5648E216B92}" presName="childText" presStyleLbl="bgAcc1" presStyleIdx="19" presStyleCnt="27">
        <dgm:presLayoutVars>
          <dgm:bulletEnabled val="1"/>
        </dgm:presLayoutVars>
      </dgm:prSet>
      <dgm:spPr/>
    </dgm:pt>
    <dgm:pt modelId="{09E76712-CFC8-9047-BE35-9AED4279CA14}" type="pres">
      <dgm:prSet presAssocID="{EC44253B-0648-334C-A54A-72CE77C60696}" presName="Name13" presStyleLbl="parChTrans1D2" presStyleIdx="20" presStyleCnt="27"/>
      <dgm:spPr/>
    </dgm:pt>
    <dgm:pt modelId="{59C8AD72-1FF0-6D4F-ABDA-EF6C6C91D979}" type="pres">
      <dgm:prSet presAssocID="{4EE57A1C-0DB5-1F49-B834-B315C0F65072}" presName="childText" presStyleLbl="bgAcc1" presStyleIdx="20" presStyleCnt="27">
        <dgm:presLayoutVars>
          <dgm:bulletEnabled val="1"/>
        </dgm:presLayoutVars>
      </dgm:prSet>
      <dgm:spPr/>
    </dgm:pt>
    <dgm:pt modelId="{4D9FE055-ADA2-6C4F-B60B-7CBC43A089E6}" type="pres">
      <dgm:prSet presAssocID="{5354B16A-E11E-1D48-AAFB-7D240D6642F5}" presName="Name13" presStyleLbl="parChTrans1D2" presStyleIdx="21" presStyleCnt="27"/>
      <dgm:spPr/>
    </dgm:pt>
    <dgm:pt modelId="{E5C17912-BBD8-EA48-B033-E10027B13EC4}" type="pres">
      <dgm:prSet presAssocID="{95CB294F-A2D2-EE47-AB33-C7A9CB36A488}" presName="childText" presStyleLbl="bgAcc1" presStyleIdx="21" presStyleCnt="27">
        <dgm:presLayoutVars>
          <dgm:bulletEnabled val="1"/>
        </dgm:presLayoutVars>
      </dgm:prSet>
      <dgm:spPr/>
    </dgm:pt>
    <dgm:pt modelId="{5DF2E0AC-F16A-7B43-A3E3-38B736183D8E}" type="pres">
      <dgm:prSet presAssocID="{C464E591-CEA1-414D-AB66-7269B863E3A7}" presName="Name13" presStyleLbl="parChTrans1D2" presStyleIdx="22" presStyleCnt="27"/>
      <dgm:spPr/>
    </dgm:pt>
    <dgm:pt modelId="{FCF6F526-FB38-FE4D-A494-4DFFD18DA82E}" type="pres">
      <dgm:prSet presAssocID="{A8A21FA9-2703-0548-B6F7-AD6E73BDA1AE}" presName="childText" presStyleLbl="bgAcc1" presStyleIdx="22" presStyleCnt="27">
        <dgm:presLayoutVars>
          <dgm:bulletEnabled val="1"/>
        </dgm:presLayoutVars>
      </dgm:prSet>
      <dgm:spPr/>
    </dgm:pt>
    <dgm:pt modelId="{FC0FD8D0-996E-6443-9AFF-FC093786F2BB}" type="pres">
      <dgm:prSet presAssocID="{971C1B5D-67F7-F748-8432-22B7AA5C243E}" presName="Name13" presStyleLbl="parChTrans1D2" presStyleIdx="23" presStyleCnt="27"/>
      <dgm:spPr/>
    </dgm:pt>
    <dgm:pt modelId="{9B9AE7A8-612B-0545-961B-2FB089BD92F9}" type="pres">
      <dgm:prSet presAssocID="{E9A3D690-F538-1640-BA5A-DA7EF97EEB32}" presName="childText" presStyleLbl="bgAcc1" presStyleIdx="23" presStyleCnt="27">
        <dgm:presLayoutVars>
          <dgm:bulletEnabled val="1"/>
        </dgm:presLayoutVars>
      </dgm:prSet>
      <dgm:spPr/>
    </dgm:pt>
    <dgm:pt modelId="{AF6E4287-AEB5-7143-99D0-53C62C5C1F09}" type="pres">
      <dgm:prSet presAssocID="{05F23BCB-22AA-E245-BA73-9BF467A5A01F}" presName="root" presStyleCnt="0"/>
      <dgm:spPr/>
    </dgm:pt>
    <dgm:pt modelId="{78CFACDA-E4B9-F547-AD11-FB2DED584293}" type="pres">
      <dgm:prSet presAssocID="{05F23BCB-22AA-E245-BA73-9BF467A5A01F}" presName="rootComposite" presStyleCnt="0"/>
      <dgm:spPr/>
    </dgm:pt>
    <dgm:pt modelId="{04A97591-A644-7A4E-A21C-0F455A246C0B}" type="pres">
      <dgm:prSet presAssocID="{05F23BCB-22AA-E245-BA73-9BF467A5A01F}" presName="rootText" presStyleLbl="node1" presStyleIdx="7" presStyleCnt="8"/>
      <dgm:spPr/>
    </dgm:pt>
    <dgm:pt modelId="{986E21F7-1EC6-6044-A4BD-94ABA22EBA0E}" type="pres">
      <dgm:prSet presAssocID="{05F23BCB-22AA-E245-BA73-9BF467A5A01F}" presName="rootConnector" presStyleLbl="node1" presStyleIdx="7" presStyleCnt="8"/>
      <dgm:spPr/>
    </dgm:pt>
    <dgm:pt modelId="{8E02AF95-9737-1F40-9B03-D871C623D3B3}" type="pres">
      <dgm:prSet presAssocID="{05F23BCB-22AA-E245-BA73-9BF467A5A01F}" presName="childShape" presStyleCnt="0"/>
      <dgm:spPr/>
    </dgm:pt>
    <dgm:pt modelId="{B575AD4C-A0B9-C546-951C-87B42CC951D5}" type="pres">
      <dgm:prSet presAssocID="{0AE37708-A5CF-DA4C-A40A-ADA98508CC23}" presName="Name13" presStyleLbl="parChTrans1D2" presStyleIdx="24" presStyleCnt="27"/>
      <dgm:spPr/>
    </dgm:pt>
    <dgm:pt modelId="{D314026A-2F78-F84E-8045-6675029EDD49}" type="pres">
      <dgm:prSet presAssocID="{8AE60BF9-091B-184E-9005-EF4555AA90DF}" presName="childText" presStyleLbl="bgAcc1" presStyleIdx="24" presStyleCnt="27">
        <dgm:presLayoutVars>
          <dgm:bulletEnabled val="1"/>
        </dgm:presLayoutVars>
      </dgm:prSet>
      <dgm:spPr/>
    </dgm:pt>
    <dgm:pt modelId="{16E58DE1-A091-5548-8240-35067CD2D11F}" type="pres">
      <dgm:prSet presAssocID="{A746390B-A82F-C64B-8145-6D27C88B0E24}" presName="Name13" presStyleLbl="parChTrans1D2" presStyleIdx="25" presStyleCnt="27"/>
      <dgm:spPr/>
    </dgm:pt>
    <dgm:pt modelId="{EFCCE37F-D0FD-4444-9D80-DBC41CEF80D2}" type="pres">
      <dgm:prSet presAssocID="{A5365144-998A-224B-BF5C-39352B61A674}" presName="childText" presStyleLbl="bgAcc1" presStyleIdx="25" presStyleCnt="27">
        <dgm:presLayoutVars>
          <dgm:bulletEnabled val="1"/>
        </dgm:presLayoutVars>
      </dgm:prSet>
      <dgm:spPr/>
    </dgm:pt>
    <dgm:pt modelId="{7DDFF29B-2975-EF45-B31C-ECD72FD9ABF0}" type="pres">
      <dgm:prSet presAssocID="{4B304EE6-B53F-644F-9D12-5306178C6031}" presName="Name13" presStyleLbl="parChTrans1D2" presStyleIdx="26" presStyleCnt="27"/>
      <dgm:spPr/>
    </dgm:pt>
    <dgm:pt modelId="{3A801272-935B-9A41-A9D1-B14936F53555}" type="pres">
      <dgm:prSet presAssocID="{F9D126EF-BE2E-7746-9348-9E369FE47AFA}" presName="childText" presStyleLbl="bgAcc1" presStyleIdx="26" presStyleCnt="27">
        <dgm:presLayoutVars>
          <dgm:bulletEnabled val="1"/>
        </dgm:presLayoutVars>
      </dgm:prSet>
      <dgm:spPr/>
    </dgm:pt>
  </dgm:ptLst>
  <dgm:cxnLst>
    <dgm:cxn modelId="{37DBE100-2990-4B25-A4CD-7F1DCB3F5F1A}" type="presOf" srcId="{41DCB497-4F67-7240-B1C3-DED53DF245ED}" destId="{79B777F2-00FE-FA4D-9CF1-63BDC88ED8C0}" srcOrd="1" destOrd="0" presId="urn:microsoft.com/office/officeart/2005/8/layout/hierarchy3"/>
    <dgm:cxn modelId="{58FB9503-7E52-BC44-A1F9-12574B538CBE}" srcId="{F1F5D922-A647-5945-89E1-2B1158E87E7C}" destId="{7A93B62C-5C6F-AC4F-8A7C-ED6B585841C1}" srcOrd="6" destOrd="0" parTransId="{209C471E-D42A-FA46-93C8-24BE0E89AD9A}" sibTransId="{2C9C703C-A18F-5A4C-819B-12AE8BD3C33E}"/>
    <dgm:cxn modelId="{B7426106-E87F-4C9F-B69E-ECFA64C3ECE4}" type="presOf" srcId="{41DCB497-4F67-7240-B1C3-DED53DF245ED}" destId="{845ED3E6-51AD-1641-949A-0F65BC3E9D79}" srcOrd="0" destOrd="0" presId="urn:microsoft.com/office/officeart/2005/8/layout/hierarchy3"/>
    <dgm:cxn modelId="{26AC5707-F2E0-45A0-930B-D886C87AE9ED}" type="presOf" srcId="{AC1C2011-E47F-F24C-8B7C-4E3BC1DFAB2D}" destId="{8D2DA61F-636E-4C4F-917A-A69C97043AB4}" srcOrd="1" destOrd="0" presId="urn:microsoft.com/office/officeart/2005/8/layout/hierarchy3"/>
    <dgm:cxn modelId="{F166A007-9572-FC4E-A4C0-A1502C01C84F}" srcId="{F1F5D922-A647-5945-89E1-2B1158E87E7C}" destId="{AC1C2011-E47F-F24C-8B7C-4E3BC1DFAB2D}" srcOrd="3" destOrd="0" parTransId="{875C913E-520C-F54F-B29E-C519013B05EF}" sibTransId="{822AF7AC-50EA-A147-96D3-4CCEFC7F8215}"/>
    <dgm:cxn modelId="{7C04D20C-F80C-425D-A1FF-AE622F634893}" type="presOf" srcId="{E6E223AD-5E94-2440-8F3B-B6DE336C4CEC}" destId="{3632657C-BFC7-224C-84FA-CA5FAF7AD56D}" srcOrd="0" destOrd="0" presId="urn:microsoft.com/office/officeart/2005/8/layout/hierarchy3"/>
    <dgm:cxn modelId="{0754A30D-F77D-4D77-97BC-B3E4F1BAB812}" type="presOf" srcId="{E18C2833-A402-AE40-AFC4-1A0012C0626B}" destId="{092E03E6-0390-364F-B243-BCD0C52801E2}" srcOrd="0" destOrd="0" presId="urn:microsoft.com/office/officeart/2005/8/layout/hierarchy3"/>
    <dgm:cxn modelId="{382E3C13-D9BD-4109-ACE5-DC6FF5BE71C4}" type="presOf" srcId="{444FF2BE-46A6-0C4D-9D6A-8EF2ABCAD744}" destId="{73301F81-1F1D-3F46-B392-A59C2C4C807C}" srcOrd="0" destOrd="0" presId="urn:microsoft.com/office/officeart/2005/8/layout/hierarchy3"/>
    <dgm:cxn modelId="{89AA0514-B813-FC49-9C07-87B67F6A64C2}" srcId="{8F051BCC-AB3B-394F-ADE0-550A8288E9D1}" destId="{E6E223AD-5E94-2440-8F3B-B6DE336C4CEC}" srcOrd="1" destOrd="0" parTransId="{7E0FC8F8-EB3C-C748-BAEB-624230241256}" sibTransId="{BCD642E1-79CF-A944-A179-9D259CAED5F2}"/>
    <dgm:cxn modelId="{FA0E1316-0AF6-485C-974D-082518476B1E}" type="presOf" srcId="{0E8CD457-DF9A-854A-B772-A66C169B0588}" destId="{5627C395-5AEB-6049-AFCA-210CC7A007BA}" srcOrd="1" destOrd="0" presId="urn:microsoft.com/office/officeart/2005/8/layout/hierarchy3"/>
    <dgm:cxn modelId="{0B4B7718-6892-47D3-BFEF-29D04A8FAF56}" type="presOf" srcId="{054BC13C-9C64-9E41-9173-145D9B78BD94}" destId="{EE3028E2-F2A6-A548-A078-22AA4CF2097D}" srcOrd="0" destOrd="0" presId="urn:microsoft.com/office/officeart/2005/8/layout/hierarchy3"/>
    <dgm:cxn modelId="{8287EA18-CC81-C647-AE7B-8853F485D1CB}" srcId="{41DCB497-4F67-7240-B1C3-DED53DF245ED}" destId="{444FF2BE-46A6-0C4D-9D6A-8EF2ABCAD744}" srcOrd="1" destOrd="0" parTransId="{136354CD-7547-0F40-90F8-3C436C8B34AB}" sibTransId="{08BBC0FC-E5EF-2F48-9E65-A9D096746A03}"/>
    <dgm:cxn modelId="{395FA31D-30DA-4F47-AD9C-EBA5210E673A}" type="presOf" srcId="{F1F5D922-A647-5945-89E1-2B1158E87E7C}" destId="{3DA2996A-B9CC-754B-A3CD-41FF8722C935}" srcOrd="0" destOrd="0" presId="urn:microsoft.com/office/officeart/2005/8/layout/hierarchy3"/>
    <dgm:cxn modelId="{F1127820-0574-C84E-A90D-0BDE230F30CE}" srcId="{0E8CD457-DF9A-854A-B772-A66C169B0588}" destId="{D01FFA2E-324C-4F44-8F5B-1D93BA14C37D}" srcOrd="0" destOrd="0" parTransId="{883F9595-6196-5F40-B439-137031A0CA92}" sibTransId="{B6B99295-B775-EA45-BDE7-A0F66DFE49C2}"/>
    <dgm:cxn modelId="{9BFFAB27-4E1C-4C40-AFC8-50CABFF63607}" type="presOf" srcId="{16038EE6-6BF3-4B48-9980-ACC7A6420663}" destId="{14B23716-2CC8-5148-A061-F33F23804BE5}" srcOrd="0" destOrd="0" presId="urn:microsoft.com/office/officeart/2005/8/layout/hierarchy3"/>
    <dgm:cxn modelId="{5C6BDC28-370F-4E41-BF61-75C200CD0C32}" type="presOf" srcId="{A8A21FA9-2703-0548-B6F7-AD6E73BDA1AE}" destId="{FCF6F526-FB38-FE4D-A494-4DFFD18DA82E}" srcOrd="0" destOrd="0" presId="urn:microsoft.com/office/officeart/2005/8/layout/hierarchy3"/>
    <dgm:cxn modelId="{C15F282A-EC05-48D2-884A-24CE1FE86174}" type="presOf" srcId="{3249E403-7B42-E041-AB57-0829AE25A092}" destId="{CC575E2B-BF36-C244-BFA9-0A26DD34CB23}" srcOrd="0" destOrd="0" presId="urn:microsoft.com/office/officeart/2005/8/layout/hierarchy3"/>
    <dgm:cxn modelId="{5E14102D-7084-FA4C-AAEB-7A45B235F0D7}" srcId="{00D42E72-3F24-5446-A532-B962CD556993}" destId="{E18C2833-A402-AE40-AFC4-1A0012C0626B}" srcOrd="3" destOrd="0" parTransId="{5A68C619-65D3-114E-9776-3746F139E5CA}" sibTransId="{42B1A76F-E8A5-F741-9656-0220FB356D62}"/>
    <dgm:cxn modelId="{9A9AB62D-7896-264C-9BC2-3B8F3619D125}" srcId="{05F23BCB-22AA-E245-BA73-9BF467A5A01F}" destId="{A5365144-998A-224B-BF5C-39352B61A674}" srcOrd="1" destOrd="0" parTransId="{A746390B-A82F-C64B-8145-6D27C88B0E24}" sibTransId="{7745351C-F63F-B543-AA34-F2D3A0BE0513}"/>
    <dgm:cxn modelId="{43692E34-E085-3749-8CF1-151B2F9F1C8E}" srcId="{7A93B62C-5C6F-AC4F-8A7C-ED6B585841C1}" destId="{E9A3D690-F538-1640-BA5A-DA7EF97EEB32}" srcOrd="4" destOrd="0" parTransId="{971C1B5D-67F7-F748-8432-22B7AA5C243E}" sibTransId="{79022E51-1F17-8546-9AC8-3171512E16F1}"/>
    <dgm:cxn modelId="{6B157E38-F63A-43D8-B8E1-BEBF47CD284D}" type="presOf" srcId="{883F9595-6196-5F40-B439-137031A0CA92}" destId="{E976EDA8-6C28-DE4A-87DF-710404B66FFB}" srcOrd="0" destOrd="0" presId="urn:microsoft.com/office/officeart/2005/8/layout/hierarchy3"/>
    <dgm:cxn modelId="{16CA8D39-BB61-4A8B-A5C4-B8F1F361A6C9}" type="presOf" srcId="{3E784F15-FAE9-BB49-95C5-CAC859C56617}" destId="{8AECC5BC-2112-6C47-BA97-C703B279B190}" srcOrd="0" destOrd="0" presId="urn:microsoft.com/office/officeart/2005/8/layout/hierarchy3"/>
    <dgm:cxn modelId="{6498933B-1F91-4C4C-B3B9-1CDF627E543D}" type="presOf" srcId="{971C1B5D-67F7-F748-8432-22B7AA5C243E}" destId="{FC0FD8D0-996E-6443-9AFF-FC093786F2BB}" srcOrd="0" destOrd="0" presId="urn:microsoft.com/office/officeart/2005/8/layout/hierarchy3"/>
    <dgm:cxn modelId="{3902835C-3766-4DD0-A4D4-AF4CCEB08C90}" type="presOf" srcId="{A6D7EFB5-A92E-044B-B43F-51922C0DC9A0}" destId="{9B3581C4-2FD4-694B-98B7-571A5B50C826}" srcOrd="0" destOrd="0" presId="urn:microsoft.com/office/officeart/2005/8/layout/hierarchy3"/>
    <dgm:cxn modelId="{AC49BD5C-6DE4-4E6B-AFAC-EA0E6DCCD263}" type="presOf" srcId="{C464E591-CEA1-414D-AB66-7269B863E3A7}" destId="{5DF2E0AC-F16A-7B43-A3E3-38B736183D8E}" srcOrd="0" destOrd="0" presId="urn:microsoft.com/office/officeart/2005/8/layout/hierarchy3"/>
    <dgm:cxn modelId="{C218BB5F-4615-4D07-910E-306C4D33C09F}" type="presOf" srcId="{F9D126EF-BE2E-7746-9348-9E369FE47AFA}" destId="{3A801272-935B-9A41-A9D1-B14936F53555}" srcOrd="0" destOrd="0" presId="urn:microsoft.com/office/officeart/2005/8/layout/hierarchy3"/>
    <dgm:cxn modelId="{996C5360-67B2-4F71-AB4C-4518059A89C4}" type="presOf" srcId="{FDAB69C9-3BA5-8240-A3EA-4A596500E358}" destId="{79124905-5F4B-C442-AA9D-A554D067E1CE}" srcOrd="0" destOrd="0" presId="urn:microsoft.com/office/officeart/2005/8/layout/hierarchy3"/>
    <dgm:cxn modelId="{87A15941-4DBE-4750-82ED-FDBED9BCD7FE}" type="presOf" srcId="{35DE522F-B866-F941-BC4D-91F450E2F441}" destId="{DD922611-B3FD-504D-B7FB-01A6B7FC4849}" srcOrd="0" destOrd="0" presId="urn:microsoft.com/office/officeart/2005/8/layout/hierarchy3"/>
    <dgm:cxn modelId="{970C8F44-585A-5948-930E-9E835ABDD018}" srcId="{AC1C2011-E47F-F24C-8B7C-4E3BC1DFAB2D}" destId="{B0893E9D-79A1-714C-9815-3E92244E91ED}" srcOrd="0" destOrd="0" parTransId="{BE09F905-F57D-3A41-B986-6174F9DE9EF6}" sibTransId="{9716B081-0A92-BB46-BEA7-6085DD96F792}"/>
    <dgm:cxn modelId="{57234E45-6456-491C-BA16-AF0A050BA303}" type="presOf" srcId="{2F9FF1B4-EA6C-7C4A-A81D-BD01257A79E7}" destId="{C1CC0758-1E89-014B-BCA6-B412B5096445}" srcOrd="1" destOrd="0" presId="urn:microsoft.com/office/officeart/2005/8/layout/hierarchy3"/>
    <dgm:cxn modelId="{4DF5A068-9A1C-4DF9-8E99-61F0CB886690}" type="presOf" srcId="{9F0F78F8-60F2-FB40-ACE6-A8E46E10A1BB}" destId="{6A58B61E-B9B8-664C-AF64-AB9D200576BF}" srcOrd="0" destOrd="0" presId="urn:microsoft.com/office/officeart/2005/8/layout/hierarchy3"/>
    <dgm:cxn modelId="{903DE168-2BF4-4988-81CB-E7F47002CEC8}" type="presOf" srcId="{A5365144-998A-224B-BF5C-39352B61A674}" destId="{EFCCE37F-D0FD-4444-9D80-DBC41CEF80D2}" srcOrd="0" destOrd="0" presId="urn:microsoft.com/office/officeart/2005/8/layout/hierarchy3"/>
    <dgm:cxn modelId="{60C39F69-4E69-4198-AE99-8A6497E85B06}" type="presOf" srcId="{E9A3D690-F538-1640-BA5A-DA7EF97EEB32}" destId="{9B9AE7A8-612B-0545-961B-2FB089BD92F9}" srcOrd="0" destOrd="0" presId="urn:microsoft.com/office/officeart/2005/8/layout/hierarchy3"/>
    <dgm:cxn modelId="{771C1A6A-AF9B-F14A-ABCF-24B1ABDA5FE1}" srcId="{00D42E72-3F24-5446-A532-B962CD556993}" destId="{69292C06-EF1C-1D4C-A419-4BBF1A78C12B}" srcOrd="1" destOrd="0" parTransId="{7F9F97BE-5130-EC47-A26F-5CE7B8699020}" sibTransId="{11D7078B-256A-0541-9889-01991EA840FB}"/>
    <dgm:cxn modelId="{76FABF4A-5FB8-42A0-BB50-E8CAA632D3AC}" type="presOf" srcId="{598FE064-F072-2E43-BEAE-80E649AEA9AE}" destId="{6FE81644-B710-2848-8BE0-2E9C1E143939}" srcOrd="0" destOrd="0" presId="urn:microsoft.com/office/officeart/2005/8/layout/hierarchy3"/>
    <dgm:cxn modelId="{F6BADC4A-32D3-4A9B-BC7E-DEFC5433E2A0}" type="presOf" srcId="{A746390B-A82F-C64B-8145-6D27C88B0E24}" destId="{16E58DE1-A091-5548-8240-35067CD2D11F}" srcOrd="0" destOrd="0" presId="urn:microsoft.com/office/officeart/2005/8/layout/hierarchy3"/>
    <dgm:cxn modelId="{3B6A8A4C-8F62-4D56-AFDB-820035D798D2}" type="presOf" srcId="{D01FFA2E-324C-4F44-8F5B-1D93BA14C37D}" destId="{23B72943-9D2C-B447-9862-078C01E5CD48}" srcOrd="0" destOrd="0" presId="urn:microsoft.com/office/officeart/2005/8/layout/hierarchy3"/>
    <dgm:cxn modelId="{F0ECF06C-4DAD-4F9D-8FDB-C5764B7310C8}" type="presOf" srcId="{2F9FF1B4-EA6C-7C4A-A81D-BD01257A79E7}" destId="{BA133919-C9B4-1F46-8D96-28E5A05EB3DE}" srcOrd="0" destOrd="0" presId="urn:microsoft.com/office/officeart/2005/8/layout/hierarchy3"/>
    <dgm:cxn modelId="{4544BC6D-CC7F-2D44-8851-9CD7A2C4CDC3}" srcId="{00D42E72-3F24-5446-A532-B962CD556993}" destId="{3249E403-7B42-E041-AB57-0829AE25A092}" srcOrd="4" destOrd="0" parTransId="{A5B5B806-C405-5C4C-8827-00133AAE07B2}" sibTransId="{98164AA1-8FDF-1F4F-B189-E9577350CB76}"/>
    <dgm:cxn modelId="{B827E06D-8180-4A04-B6DF-017F7003881D}" type="presOf" srcId="{3C53D9CB-B49A-1041-B36E-C876B26C0664}" destId="{ABA92FFD-011E-CD40-84AF-075B95B64B93}" srcOrd="0" destOrd="0" presId="urn:microsoft.com/office/officeart/2005/8/layout/hierarchy3"/>
    <dgm:cxn modelId="{1E6AFF6D-FD10-F540-B9E2-6756D4679939}" srcId="{00D42E72-3F24-5446-A532-B962CD556993}" destId="{A6D7EFB5-A92E-044B-B43F-51922C0DC9A0}" srcOrd="0" destOrd="0" parTransId="{457D7804-6648-244C-B977-5FFA990152B3}" sibTransId="{58A1200A-74DE-DC4C-BAC0-FA8EE5C767D2}"/>
    <dgm:cxn modelId="{5DE1116E-139B-472E-8212-12D20732C696}" type="presOf" srcId="{7F9F97BE-5130-EC47-A26F-5CE7B8699020}" destId="{4236FFC8-1C6E-D94D-BE64-0D9C3F213F9C}" srcOrd="0" destOrd="0" presId="urn:microsoft.com/office/officeart/2005/8/layout/hierarchy3"/>
    <dgm:cxn modelId="{D31C3E6E-8333-476A-AB88-C211982F00B7}" type="presOf" srcId="{E876EA2D-293D-BC4A-A196-3712A4F5CDB1}" destId="{F25706D1-68D7-8C43-A6D7-5B86169F3E21}" srcOrd="0" destOrd="0" presId="urn:microsoft.com/office/officeart/2005/8/layout/hierarchy3"/>
    <dgm:cxn modelId="{8771CD6E-AC54-4809-B4A3-9B184FAF581F}" type="presOf" srcId="{53C1FC7C-FB8B-ED43-B796-B56D223ECB81}" destId="{FE0B66B4-D0F6-534A-9FA4-5FFE3999714B}" srcOrd="0" destOrd="0" presId="urn:microsoft.com/office/officeart/2005/8/layout/hierarchy3"/>
    <dgm:cxn modelId="{A4132A6F-7A74-46A1-9C9A-F1B09B88188C}" type="presOf" srcId="{00D42E72-3F24-5446-A532-B962CD556993}" destId="{7E8E6DBD-621F-D641-8A93-A92DC836FF95}" srcOrd="1" destOrd="0" presId="urn:microsoft.com/office/officeart/2005/8/layout/hierarchy3"/>
    <dgm:cxn modelId="{D0C11A71-8E06-4020-86CA-14354979B479}" type="presOf" srcId="{69292C06-EF1C-1D4C-A419-4BBF1A78C12B}" destId="{997B334E-E3E7-484A-94FD-9FE98B06E5D3}" srcOrd="0" destOrd="0" presId="urn:microsoft.com/office/officeart/2005/8/layout/hierarchy3"/>
    <dgm:cxn modelId="{63689D55-9C67-4A71-BF8F-4A3F8CB00374}" type="presOf" srcId="{6FA5CCA6-E064-CA4E-A237-3841FE7B18E9}" destId="{437448C7-8D9E-894B-8A39-BF62597BFD1F}" srcOrd="0" destOrd="0" presId="urn:microsoft.com/office/officeart/2005/8/layout/hierarchy3"/>
    <dgm:cxn modelId="{AF3EAD55-F82A-4A67-9A60-4F442E3FDC9B}" type="presOf" srcId="{8DC7C76D-6C75-D742-A16F-9E797B71B627}" destId="{5F283CA6-EFED-9B45-B629-D2FA0BF4ADCB}" srcOrd="0" destOrd="0" presId="urn:microsoft.com/office/officeart/2005/8/layout/hierarchy3"/>
    <dgm:cxn modelId="{0ACC0358-AE1D-4FEC-B6F8-6995085E1BA0}" type="presOf" srcId="{7A93B62C-5C6F-AC4F-8A7C-ED6B585841C1}" destId="{51CA69B9-995A-3146-AEC4-A30299EAFD91}" srcOrd="0" destOrd="0" presId="urn:microsoft.com/office/officeart/2005/8/layout/hierarchy3"/>
    <dgm:cxn modelId="{35FD3179-ECB7-4ACE-AAF0-0202C1ABB37F}" type="presOf" srcId="{2BB9B9E4-5FE5-D147-BAFC-E8ED24A73C6D}" destId="{1F173F23-D7E9-2140-98A9-81B7F6662385}" srcOrd="0" destOrd="0" presId="urn:microsoft.com/office/officeart/2005/8/layout/hierarchy3"/>
    <dgm:cxn modelId="{7D24917B-F264-4E45-BDE3-71E6B04AAB54}" srcId="{2F9FF1B4-EA6C-7C4A-A81D-BD01257A79E7}" destId="{FDAB69C9-3BA5-8240-A3EA-4A596500E358}" srcOrd="0" destOrd="0" parTransId="{EE9B1C0E-FF5B-F64D-97DA-1EFCDC6AC4F0}" sibTransId="{32666D97-8610-9945-B7FA-DE82EDE8AF0D}"/>
    <dgm:cxn modelId="{5EB2897D-8A95-4118-8B80-534FC9AC26E2}" type="presOf" srcId="{5A68C619-65D3-114E-9776-3746F139E5CA}" destId="{35EA8B6E-7CBA-3C46-ACBA-B28BF59A2486}" srcOrd="0" destOrd="0" presId="urn:microsoft.com/office/officeart/2005/8/layout/hierarchy3"/>
    <dgm:cxn modelId="{44C6C181-0F97-42BA-99A4-48BAA4EFD1D2}" type="presOf" srcId="{EC44253B-0648-334C-A54A-72CE77C60696}" destId="{09E76712-CFC8-9047-BE35-9AED4279CA14}" srcOrd="0" destOrd="0" presId="urn:microsoft.com/office/officeart/2005/8/layout/hierarchy3"/>
    <dgm:cxn modelId="{B9056183-5307-491D-A862-024577644E65}" type="presOf" srcId="{05F23BCB-22AA-E245-BA73-9BF467A5A01F}" destId="{04A97591-A644-7A4E-A21C-0F455A246C0B}" srcOrd="0" destOrd="0" presId="urn:microsoft.com/office/officeart/2005/8/layout/hierarchy3"/>
    <dgm:cxn modelId="{654C0F84-17D6-40AE-B10B-0B8DCFE6D80D}" type="presOf" srcId="{457D7804-6648-244C-B977-5FFA990152B3}" destId="{6C7CCA5F-C27C-C242-A47B-5B9938F66569}" srcOrd="0" destOrd="0" presId="urn:microsoft.com/office/officeart/2005/8/layout/hierarchy3"/>
    <dgm:cxn modelId="{3E7EFA84-5E35-C846-8C47-63D027B2E805}" srcId="{7A93B62C-5C6F-AC4F-8A7C-ED6B585841C1}" destId="{4EE57A1C-0DB5-1F49-B834-B315C0F65072}" srcOrd="1" destOrd="0" parTransId="{EC44253B-0648-334C-A54A-72CE77C60696}" sibTransId="{629D1C23-38C7-5F40-A941-195B4EBC56DE}"/>
    <dgm:cxn modelId="{5E0BB287-0114-404F-8DE7-EA4FCF64D09E}" type="presOf" srcId="{5354B16A-E11E-1D48-AAFB-7D240D6642F5}" destId="{4D9FE055-ADA2-6C4F-B60B-7CBC43A089E6}" srcOrd="0" destOrd="0" presId="urn:microsoft.com/office/officeart/2005/8/layout/hierarchy3"/>
    <dgm:cxn modelId="{234C1E88-2064-4E59-A240-90259D7C7EB7}" type="presOf" srcId="{B41E6929-1A8C-EF44-A394-950681650A9E}" destId="{B558153D-11A8-6142-B758-300ACA5246DD}" srcOrd="0" destOrd="0" presId="urn:microsoft.com/office/officeart/2005/8/layout/hierarchy3"/>
    <dgm:cxn modelId="{5DBEB98B-738C-ED4F-AD67-E2390B57594D}" srcId="{0E8CD457-DF9A-854A-B772-A66C169B0588}" destId="{8DC7C76D-6C75-D742-A16F-9E797B71B627}" srcOrd="2" destOrd="0" parTransId="{B41E6929-1A8C-EF44-A394-950681650A9E}" sibTransId="{8FDA92A6-7F3E-944A-8CB4-9242580083D3}"/>
    <dgm:cxn modelId="{572D6C8E-9FE6-43B6-B2FA-A56A1194EDE4}" type="presOf" srcId="{AE8F0254-C357-F34A-B5AE-12FF6C1B5C26}" destId="{9DD1C069-7EFF-BE4E-9BEF-C0171B20E754}" srcOrd="0" destOrd="0" presId="urn:microsoft.com/office/officeart/2005/8/layout/hierarchy3"/>
    <dgm:cxn modelId="{F60A0691-5045-394F-956D-7F5888590301}" srcId="{F1F5D922-A647-5945-89E1-2B1158E87E7C}" destId="{0E8CD457-DF9A-854A-B772-A66C169B0588}" srcOrd="4" destOrd="0" parTransId="{08F59359-C013-7E47-94F6-E90D860A58DF}" sibTransId="{8E08FD71-FC03-CB42-A5BD-73669B7ED237}"/>
    <dgm:cxn modelId="{FDE15291-5421-4E4E-B28F-792DA5BDC74A}" type="presOf" srcId="{A5B5B806-C405-5C4C-8827-00133AAE07B2}" destId="{5E914F32-FE04-9D4B-B1A1-C47F3DB5E6F2}" srcOrd="0" destOrd="0" presId="urn:microsoft.com/office/officeart/2005/8/layout/hierarchy3"/>
    <dgm:cxn modelId="{BD730794-687B-4701-90B6-BC0EFA9E4F17}" type="presOf" srcId="{0E8CD457-DF9A-854A-B772-A66C169B0588}" destId="{8A3AFC21-FCDC-294F-83C4-28C57F26AA02}" srcOrd="0" destOrd="0" presId="urn:microsoft.com/office/officeart/2005/8/layout/hierarchy3"/>
    <dgm:cxn modelId="{FD352A94-4692-BA4B-AFBA-53ED2D5C7456}" srcId="{AC1C2011-E47F-F24C-8B7C-4E3BC1DFAB2D}" destId="{B38F1EE6-D813-644B-B80E-DC72FD03A0A2}" srcOrd="1" destOrd="0" parTransId="{35DE522F-B866-F941-BC4D-91F450E2F441}" sibTransId="{D872DCFB-4FCB-0A4F-8B9F-20D50B54D705}"/>
    <dgm:cxn modelId="{18F85895-D2F9-9B49-BDF4-644A05E7DFBE}" srcId="{41DCB497-4F67-7240-B1C3-DED53DF245ED}" destId="{FD4DD728-38B2-774B-93E8-0922AD3E17ED}" srcOrd="2" destOrd="0" parTransId="{E876EA2D-293D-BC4A-A196-3712A4F5CDB1}" sibTransId="{C3859D40-5AA0-844D-825E-EBCAAA87B506}"/>
    <dgm:cxn modelId="{E3D14298-6951-4900-AE2C-B0301E92CAD9}" type="presOf" srcId="{FD4DD728-38B2-774B-93E8-0922AD3E17ED}" destId="{DDD7714F-70F6-4041-A377-C7AF7CC48C51}" srcOrd="0" destOrd="0" presId="urn:microsoft.com/office/officeart/2005/8/layout/hierarchy3"/>
    <dgm:cxn modelId="{87004798-78DA-4817-9AB9-1D226B20873D}" type="presOf" srcId="{B38F1EE6-D813-644B-B80E-DC72FD03A0A2}" destId="{3394CABE-AB99-1C4A-B9C0-729743D086F2}" srcOrd="0" destOrd="0" presId="urn:microsoft.com/office/officeart/2005/8/layout/hierarchy3"/>
    <dgm:cxn modelId="{3603899B-4887-4955-A8C6-3BCFB82AE5E5}" type="presOf" srcId="{7A93B62C-5C6F-AC4F-8A7C-ED6B585841C1}" destId="{A3EBC1A4-3CA1-964A-8FB8-1070D94A0A1C}" srcOrd="1" destOrd="0" presId="urn:microsoft.com/office/officeart/2005/8/layout/hierarchy3"/>
    <dgm:cxn modelId="{ACE3219C-408C-4046-ADCB-CA1ADC533661}" type="presOf" srcId="{00D42E72-3F24-5446-A532-B962CD556993}" destId="{7C4B08AE-504D-5445-8927-ABADC132B1EA}" srcOrd="0" destOrd="0" presId="urn:microsoft.com/office/officeart/2005/8/layout/hierarchy3"/>
    <dgm:cxn modelId="{88DCD89D-F68B-4536-88C2-98B3B805E442}" type="presOf" srcId="{0AE37708-A5CF-DA4C-A40A-ADA98508CC23}" destId="{B575AD4C-A0B9-C546-951C-87B42CC951D5}" srcOrd="0" destOrd="0" presId="urn:microsoft.com/office/officeart/2005/8/layout/hierarchy3"/>
    <dgm:cxn modelId="{A3FE169F-67DC-4B42-B20C-7CA9C90F1C7E}" type="presOf" srcId="{299096F4-3ED2-8C4A-9186-AB4A03B8C0C6}" destId="{6023BBE9-C729-A74F-9B11-823A1A565C70}" srcOrd="0" destOrd="0" presId="urn:microsoft.com/office/officeart/2005/8/layout/hierarchy3"/>
    <dgm:cxn modelId="{FFF9D69F-B680-CD4D-822F-03F59C058A3D}" srcId="{F1F5D922-A647-5945-89E1-2B1158E87E7C}" destId="{41DCB497-4F67-7240-B1C3-DED53DF245ED}" srcOrd="0" destOrd="0" parTransId="{EF8DA8D5-FCE9-E14D-9897-BF3EC678B95A}" sibTransId="{5AAC9A2B-AAFE-704A-A72E-E6537DEA1C39}"/>
    <dgm:cxn modelId="{214AB6A0-44D5-43F2-942E-117316B62BD1}" type="presOf" srcId="{EE9B1C0E-FF5B-F64D-97DA-1EFCDC6AC4F0}" destId="{A9557D1F-C5B3-4E4A-8CE5-F4F68D65AEEB}" srcOrd="0" destOrd="0" presId="urn:microsoft.com/office/officeart/2005/8/layout/hierarchy3"/>
    <dgm:cxn modelId="{D1D6E9A5-7DF3-45E0-ABC2-056A49D5CA5B}" type="presOf" srcId="{7E0FC8F8-EB3C-C748-BAEB-624230241256}" destId="{40E2CB40-9B00-E748-B505-5DD3E635E558}" srcOrd="0" destOrd="0" presId="urn:microsoft.com/office/officeart/2005/8/layout/hierarchy3"/>
    <dgm:cxn modelId="{F7B636A9-3F1D-4E4B-BBB1-A7922D6922B2}" srcId="{F1F5D922-A647-5945-89E1-2B1158E87E7C}" destId="{8F051BCC-AB3B-394F-ADE0-550A8288E9D1}" srcOrd="2" destOrd="0" parTransId="{70BF84AD-BF26-A249-B0E7-CCCCE1D37B64}" sibTransId="{2E3D6173-BE70-F34B-950B-1C3702EC581B}"/>
    <dgm:cxn modelId="{39876EA9-9DCE-4A41-86D9-927B0F97AC65}" type="presOf" srcId="{8F051BCC-AB3B-394F-ADE0-550A8288E9D1}" destId="{3EA10360-C008-6E4F-801E-D8671B796508}" srcOrd="1" destOrd="0" presId="urn:microsoft.com/office/officeart/2005/8/layout/hierarchy3"/>
    <dgm:cxn modelId="{4CA8B3A9-6F84-F745-A397-B2638DFF7FA3}" srcId="{05F23BCB-22AA-E245-BA73-9BF467A5A01F}" destId="{8AE60BF9-091B-184E-9005-EF4555AA90DF}" srcOrd="0" destOrd="0" parTransId="{0AE37708-A5CF-DA4C-A40A-ADA98508CC23}" sibTransId="{0DFAB878-B6EC-3647-9263-A4B3AB2CF447}"/>
    <dgm:cxn modelId="{6CB113AA-9DEA-194E-B4B1-C591C50EA489}" srcId="{8F051BCC-AB3B-394F-ADE0-550A8288E9D1}" destId="{598FE064-F072-2E43-BEAE-80E649AEA9AE}" srcOrd="0" destOrd="0" parTransId="{224B842B-4E55-914D-977A-0FFA6511356C}" sibTransId="{BF168AA6-8FD0-D546-926D-CD54C2D9060A}"/>
    <dgm:cxn modelId="{841DCEAB-77F6-C149-B398-963E03A33824}" srcId="{2F9FF1B4-EA6C-7C4A-A81D-BD01257A79E7}" destId="{299096F4-3ED2-8C4A-9186-AB4A03B8C0C6}" srcOrd="1" destOrd="0" parTransId="{3E784F15-FAE9-BB49-95C5-CAC859C56617}" sibTransId="{82A589DB-9981-E041-A7ED-B93DEBADEC5B}"/>
    <dgm:cxn modelId="{5FE271AD-91AB-E540-8168-456A5C5F4FCA}" srcId="{F1F5D922-A647-5945-89E1-2B1158E87E7C}" destId="{00D42E72-3F24-5446-A532-B962CD556993}" srcOrd="5" destOrd="0" parTransId="{018CBCAC-7E13-DC4B-ABAF-4151D091C23E}" sibTransId="{159A85A7-45FC-764B-8BDD-34079D757EA7}"/>
    <dgm:cxn modelId="{21C1DCAF-B38C-4627-BDB6-FF1D0481E740}" type="presOf" srcId="{05D8882D-F16D-AB43-A3F3-30720E7BFBE0}" destId="{CEEA02DB-4226-0A4E-9CEE-E4DF1468D4FA}" srcOrd="0" destOrd="0" presId="urn:microsoft.com/office/officeart/2005/8/layout/hierarchy3"/>
    <dgm:cxn modelId="{D9B95EB0-D91B-4AC9-8CE6-395B7FE45FC1}" type="presOf" srcId="{4B304EE6-B53F-644F-9D12-5306178C6031}" destId="{7DDFF29B-2975-EF45-B31C-ECD72FD9ABF0}" srcOrd="0" destOrd="0" presId="urn:microsoft.com/office/officeart/2005/8/layout/hierarchy3"/>
    <dgm:cxn modelId="{98B839B3-F3C1-446E-8440-E55704965BAE}" type="presOf" srcId="{B0893E9D-79A1-714C-9815-3E92244E91ED}" destId="{DA57115A-100A-0B4A-9BAC-ABEC59ABB382}" srcOrd="0" destOrd="0" presId="urn:microsoft.com/office/officeart/2005/8/layout/hierarchy3"/>
    <dgm:cxn modelId="{1E5CE1B3-6395-C843-B3EF-0F8FAF4FD5BD}" srcId="{2F9FF1B4-EA6C-7C4A-A81D-BD01257A79E7}" destId="{2704C766-EA22-D046-80C0-C5A0AF66F85D}" srcOrd="2" destOrd="0" parTransId="{9F0F78F8-60F2-FB40-ACE6-A8E46E10A1BB}" sibTransId="{47C8D04F-C358-9A48-B736-2D8B40E8D061}"/>
    <dgm:cxn modelId="{9C44E8B8-8AD9-374F-AB5A-E0DFD97DEBC9}" srcId="{7A93B62C-5C6F-AC4F-8A7C-ED6B585841C1}" destId="{A8A21FA9-2703-0548-B6F7-AD6E73BDA1AE}" srcOrd="3" destOrd="0" parTransId="{C464E591-CEA1-414D-AB66-7269B863E3A7}" sibTransId="{AAE35E0D-BBED-974A-8345-D01C85A9A5C3}"/>
    <dgm:cxn modelId="{46025DB9-EA82-4E00-9D65-709C7FD24BBD}" type="presOf" srcId="{8AE60BF9-091B-184E-9005-EF4555AA90DF}" destId="{D314026A-2F78-F84E-8045-6675029EDD49}" srcOrd="0" destOrd="0" presId="urn:microsoft.com/office/officeart/2005/8/layout/hierarchy3"/>
    <dgm:cxn modelId="{8E855FBD-1276-4211-9412-D57683810E17}" type="presOf" srcId="{136354CD-7547-0F40-90F8-3C436C8B34AB}" destId="{0D1F2A58-F3A6-2749-A21E-35A839943671}" srcOrd="0" destOrd="0" presId="urn:microsoft.com/office/officeart/2005/8/layout/hierarchy3"/>
    <dgm:cxn modelId="{F81AF2BF-4375-184B-86A7-1E8B65375CB8}" srcId="{05F23BCB-22AA-E245-BA73-9BF467A5A01F}" destId="{F9D126EF-BE2E-7746-9348-9E369FE47AFA}" srcOrd="2" destOrd="0" parTransId="{4B304EE6-B53F-644F-9D12-5306178C6031}" sibTransId="{C6F6394C-4393-E447-822F-CF280956CC95}"/>
    <dgm:cxn modelId="{9CB096C1-9AF6-1945-B1A9-5046E66C8772}" srcId="{0E8CD457-DF9A-854A-B772-A66C169B0588}" destId="{16038EE6-6BF3-4B48-9980-ACC7A6420663}" srcOrd="1" destOrd="0" parTransId="{AE8F0254-C357-F34A-B5AE-12FF6C1B5C26}" sibTransId="{0B8419AD-1F4A-364B-AB5A-51FA3B4CE4AF}"/>
    <dgm:cxn modelId="{7D0239C3-089A-48BD-8447-0F52F565C6B9}" type="presOf" srcId="{95F28B24-1712-6849-B4D1-E5648E216B92}" destId="{80FE65BA-CA7D-9B4B-8240-226E315E8C05}" srcOrd="0" destOrd="0" presId="urn:microsoft.com/office/officeart/2005/8/layout/hierarchy3"/>
    <dgm:cxn modelId="{27293FC4-AFA8-C04F-827D-EF7C5DFD5E2F}" srcId="{41DCB497-4F67-7240-B1C3-DED53DF245ED}" destId="{53C1FC7C-FB8B-ED43-B796-B56D223ECB81}" srcOrd="0" destOrd="0" parTransId="{05D8882D-F16D-AB43-A3F3-30720E7BFBE0}" sibTransId="{FA1A555A-A4F9-B143-A6AC-EE0D227AD57C}"/>
    <dgm:cxn modelId="{174E45C5-3B6F-E94E-9A87-07B24C3F8DEE}" srcId="{7A93B62C-5C6F-AC4F-8A7C-ED6B585841C1}" destId="{95CB294F-A2D2-EE47-AB33-C7A9CB36A488}" srcOrd="2" destOrd="0" parTransId="{5354B16A-E11E-1D48-AAFB-7D240D6642F5}" sibTransId="{1EC4D161-9293-3849-AB95-3B40B45A1BB7}"/>
    <dgm:cxn modelId="{1D42ADC5-759A-4DF2-BC0E-A2B6B1ECBA05}" type="presOf" srcId="{95CB294F-A2D2-EE47-AB33-C7A9CB36A488}" destId="{E5C17912-BBD8-EA48-B033-E10027B13EC4}" srcOrd="0" destOrd="0" presId="urn:microsoft.com/office/officeart/2005/8/layout/hierarchy3"/>
    <dgm:cxn modelId="{107154C8-A30F-114D-8393-F817D0900E82}" srcId="{0E8CD457-DF9A-854A-B772-A66C169B0588}" destId="{3C53D9CB-B49A-1041-B36E-C876B26C0664}" srcOrd="3" destOrd="0" parTransId="{9C1B7D37-0A7C-4146-A31B-21D8316E2833}" sibTransId="{A56BD4CF-F2CB-3D42-B050-868112FD307A}"/>
    <dgm:cxn modelId="{0B966AC9-2325-1E4E-B0C8-2C19E55D858E}" srcId="{F1F5D922-A647-5945-89E1-2B1158E87E7C}" destId="{05F23BCB-22AA-E245-BA73-9BF467A5A01F}" srcOrd="7" destOrd="0" parTransId="{A7E108D9-D194-FE4F-8C1B-3BFABDB65787}" sibTransId="{5382DFFD-E064-1D40-BAEB-F6C25F6107AE}"/>
    <dgm:cxn modelId="{1B7B35CA-5E0E-482A-8171-4B031081CF9C}" type="presOf" srcId="{2704C766-EA22-D046-80C0-C5A0AF66F85D}" destId="{F8F89AFA-7427-B447-B5EA-897B3007A5D0}" srcOrd="0" destOrd="0" presId="urn:microsoft.com/office/officeart/2005/8/layout/hierarchy3"/>
    <dgm:cxn modelId="{B35CECD8-25B5-B043-BE4F-8B988CB5BE56}" srcId="{F1F5D922-A647-5945-89E1-2B1158E87E7C}" destId="{2F9FF1B4-EA6C-7C4A-A81D-BD01257A79E7}" srcOrd="1" destOrd="0" parTransId="{DA9D38D4-F370-4C44-9EDE-EC75DD5C2DFF}" sibTransId="{73A9813E-E570-3849-9A3D-EE8BC43EE56C}"/>
    <dgm:cxn modelId="{CE3AB8DE-B610-4882-9F2E-D86AA70CA9CC}" type="presOf" srcId="{BE09F905-F57D-3A41-B986-6174F9DE9EF6}" destId="{96C0B8AD-0DBD-D346-8EE3-09BFB11167B9}" srcOrd="0" destOrd="0" presId="urn:microsoft.com/office/officeart/2005/8/layout/hierarchy3"/>
    <dgm:cxn modelId="{658DDFE1-A5D6-47F5-AD5E-18F3231D2E2A}" type="presOf" srcId="{224B842B-4E55-914D-977A-0FFA6511356C}" destId="{9F877505-089D-AE47-A1F1-6C24D9394F4F}" srcOrd="0" destOrd="0" presId="urn:microsoft.com/office/officeart/2005/8/layout/hierarchy3"/>
    <dgm:cxn modelId="{6446CAE3-D817-F244-A5BF-7012A89501D4}" srcId="{7A93B62C-5C6F-AC4F-8A7C-ED6B585841C1}" destId="{95F28B24-1712-6849-B4D1-E5648E216B92}" srcOrd="0" destOrd="0" parTransId="{6FA5CCA6-E064-CA4E-A237-3841FE7B18E9}" sibTransId="{85060FCB-9889-A04A-A20E-FA173D032DFF}"/>
    <dgm:cxn modelId="{B7903AE4-8E49-024E-B1CD-62002BD104ED}" srcId="{00D42E72-3F24-5446-A532-B962CD556993}" destId="{054BC13C-9C64-9E41-9173-145D9B78BD94}" srcOrd="2" destOrd="0" parTransId="{2BB9B9E4-5FE5-D147-BAFC-E8ED24A73C6D}" sibTransId="{E99AEB17-6B59-8941-83C7-A066A176A5C1}"/>
    <dgm:cxn modelId="{62E665EA-14AC-4571-9575-1C6E95E27FEC}" type="presOf" srcId="{9C1B7D37-0A7C-4146-A31B-21D8316E2833}" destId="{12865B71-5B1C-3140-BFB5-38937DC9BCE6}" srcOrd="0" destOrd="0" presId="urn:microsoft.com/office/officeart/2005/8/layout/hierarchy3"/>
    <dgm:cxn modelId="{51D72FED-EEF6-478F-A06C-4625F4205681}" type="presOf" srcId="{4EE57A1C-0DB5-1F49-B834-B315C0F65072}" destId="{59C8AD72-1FF0-6D4F-ABDA-EF6C6C91D979}" srcOrd="0" destOrd="0" presId="urn:microsoft.com/office/officeart/2005/8/layout/hierarchy3"/>
    <dgm:cxn modelId="{7F376BF3-C432-403F-B054-9AC6CBCD0BE5}" type="presOf" srcId="{8F051BCC-AB3B-394F-ADE0-550A8288E9D1}" destId="{07B8B408-BBEA-5347-BC4A-13FA8D964551}" srcOrd="0" destOrd="0" presId="urn:microsoft.com/office/officeart/2005/8/layout/hierarchy3"/>
    <dgm:cxn modelId="{346092F8-BC1E-42A5-9A4A-78EB20FEA621}" type="presOf" srcId="{05F23BCB-22AA-E245-BA73-9BF467A5A01F}" destId="{986E21F7-1EC6-6044-A4BD-94ABA22EBA0E}" srcOrd="1" destOrd="0" presId="urn:microsoft.com/office/officeart/2005/8/layout/hierarchy3"/>
    <dgm:cxn modelId="{8919D5F8-58B9-4D8C-B73F-5B6907A2E2B9}" type="presOf" srcId="{AC1C2011-E47F-F24C-8B7C-4E3BC1DFAB2D}" destId="{20E4A332-023C-354A-A82F-E68BD57D1F45}" srcOrd="0" destOrd="0" presId="urn:microsoft.com/office/officeart/2005/8/layout/hierarchy3"/>
    <dgm:cxn modelId="{DBE86BAD-6A05-4AB6-9682-FBD81963D598}" type="presParOf" srcId="{3DA2996A-B9CC-754B-A3CD-41FF8722C935}" destId="{F9755A37-50D0-544F-94E1-A8554908B9C7}" srcOrd="0" destOrd="0" presId="urn:microsoft.com/office/officeart/2005/8/layout/hierarchy3"/>
    <dgm:cxn modelId="{37DE0EF7-A948-4EAD-A93F-B5ADE3893D49}" type="presParOf" srcId="{F9755A37-50D0-544F-94E1-A8554908B9C7}" destId="{1BEAEB11-0E14-4840-BD0C-C5D28780C2E3}" srcOrd="0" destOrd="0" presId="urn:microsoft.com/office/officeart/2005/8/layout/hierarchy3"/>
    <dgm:cxn modelId="{3910050C-69C1-49D0-BDCA-261CC8CE6430}" type="presParOf" srcId="{1BEAEB11-0E14-4840-BD0C-C5D28780C2E3}" destId="{845ED3E6-51AD-1641-949A-0F65BC3E9D79}" srcOrd="0" destOrd="0" presId="urn:microsoft.com/office/officeart/2005/8/layout/hierarchy3"/>
    <dgm:cxn modelId="{B80DCCA6-11E3-4C24-94D0-38D0ECBACD0A}" type="presParOf" srcId="{1BEAEB11-0E14-4840-BD0C-C5D28780C2E3}" destId="{79B777F2-00FE-FA4D-9CF1-63BDC88ED8C0}" srcOrd="1" destOrd="0" presId="urn:microsoft.com/office/officeart/2005/8/layout/hierarchy3"/>
    <dgm:cxn modelId="{F65790BB-1367-429C-BD72-99822C2036BE}" type="presParOf" srcId="{F9755A37-50D0-544F-94E1-A8554908B9C7}" destId="{B8CE6112-F86D-E849-B514-086069D887CB}" srcOrd="1" destOrd="0" presId="urn:microsoft.com/office/officeart/2005/8/layout/hierarchy3"/>
    <dgm:cxn modelId="{1A05F19E-733A-499F-BE50-58E2C3279B25}" type="presParOf" srcId="{B8CE6112-F86D-E849-B514-086069D887CB}" destId="{CEEA02DB-4226-0A4E-9CEE-E4DF1468D4FA}" srcOrd="0" destOrd="0" presId="urn:microsoft.com/office/officeart/2005/8/layout/hierarchy3"/>
    <dgm:cxn modelId="{ABB27F75-6CBC-4061-93F5-7FF66A875A3B}" type="presParOf" srcId="{B8CE6112-F86D-E849-B514-086069D887CB}" destId="{FE0B66B4-D0F6-534A-9FA4-5FFE3999714B}" srcOrd="1" destOrd="0" presId="urn:microsoft.com/office/officeart/2005/8/layout/hierarchy3"/>
    <dgm:cxn modelId="{9CB54D55-86E8-4043-B8A9-147D01DC838F}" type="presParOf" srcId="{B8CE6112-F86D-E849-B514-086069D887CB}" destId="{0D1F2A58-F3A6-2749-A21E-35A839943671}" srcOrd="2" destOrd="0" presId="urn:microsoft.com/office/officeart/2005/8/layout/hierarchy3"/>
    <dgm:cxn modelId="{82C48E60-0C8E-4B65-B0B1-26AE23CC109D}" type="presParOf" srcId="{B8CE6112-F86D-E849-B514-086069D887CB}" destId="{73301F81-1F1D-3F46-B392-A59C2C4C807C}" srcOrd="3" destOrd="0" presId="urn:microsoft.com/office/officeart/2005/8/layout/hierarchy3"/>
    <dgm:cxn modelId="{BAB0D29C-997F-44F0-B341-5BC35CDEE6A1}" type="presParOf" srcId="{B8CE6112-F86D-E849-B514-086069D887CB}" destId="{F25706D1-68D7-8C43-A6D7-5B86169F3E21}" srcOrd="4" destOrd="0" presId="urn:microsoft.com/office/officeart/2005/8/layout/hierarchy3"/>
    <dgm:cxn modelId="{3B2934E6-0658-4FB2-86E4-B3889C9E01B0}" type="presParOf" srcId="{B8CE6112-F86D-E849-B514-086069D887CB}" destId="{DDD7714F-70F6-4041-A377-C7AF7CC48C51}" srcOrd="5" destOrd="0" presId="urn:microsoft.com/office/officeart/2005/8/layout/hierarchy3"/>
    <dgm:cxn modelId="{FA4232B8-7658-4301-8C8A-7A4CE873BBC4}" type="presParOf" srcId="{3DA2996A-B9CC-754B-A3CD-41FF8722C935}" destId="{F6F0469B-1C50-4B4D-BF68-CF7F3D49A7AC}" srcOrd="1" destOrd="0" presId="urn:microsoft.com/office/officeart/2005/8/layout/hierarchy3"/>
    <dgm:cxn modelId="{2D4596A3-8B83-47CE-AA30-788AB6E27080}" type="presParOf" srcId="{F6F0469B-1C50-4B4D-BF68-CF7F3D49A7AC}" destId="{769E2691-6716-7D43-9378-8323DC986804}" srcOrd="0" destOrd="0" presId="urn:microsoft.com/office/officeart/2005/8/layout/hierarchy3"/>
    <dgm:cxn modelId="{05DC9363-211C-4B54-90F6-E1328401ECE8}" type="presParOf" srcId="{769E2691-6716-7D43-9378-8323DC986804}" destId="{BA133919-C9B4-1F46-8D96-28E5A05EB3DE}" srcOrd="0" destOrd="0" presId="urn:microsoft.com/office/officeart/2005/8/layout/hierarchy3"/>
    <dgm:cxn modelId="{AEEDF88E-C768-46E9-817B-29F8842C6A27}" type="presParOf" srcId="{769E2691-6716-7D43-9378-8323DC986804}" destId="{C1CC0758-1E89-014B-BCA6-B412B5096445}" srcOrd="1" destOrd="0" presId="urn:microsoft.com/office/officeart/2005/8/layout/hierarchy3"/>
    <dgm:cxn modelId="{6CFB4ACD-007F-45D9-B27B-6E8C5095ABF6}" type="presParOf" srcId="{F6F0469B-1C50-4B4D-BF68-CF7F3D49A7AC}" destId="{E2153473-BC31-5845-A6D5-1BA6957C2C0E}" srcOrd="1" destOrd="0" presId="urn:microsoft.com/office/officeart/2005/8/layout/hierarchy3"/>
    <dgm:cxn modelId="{FE926582-4603-4418-A308-5F67BCCE397D}" type="presParOf" srcId="{E2153473-BC31-5845-A6D5-1BA6957C2C0E}" destId="{A9557D1F-C5B3-4E4A-8CE5-F4F68D65AEEB}" srcOrd="0" destOrd="0" presId="urn:microsoft.com/office/officeart/2005/8/layout/hierarchy3"/>
    <dgm:cxn modelId="{035043D4-C4EB-4B41-880A-3A001F7EA35C}" type="presParOf" srcId="{E2153473-BC31-5845-A6D5-1BA6957C2C0E}" destId="{79124905-5F4B-C442-AA9D-A554D067E1CE}" srcOrd="1" destOrd="0" presId="urn:microsoft.com/office/officeart/2005/8/layout/hierarchy3"/>
    <dgm:cxn modelId="{E7CA87E3-3C79-45D1-8285-99594BB46B08}" type="presParOf" srcId="{E2153473-BC31-5845-A6D5-1BA6957C2C0E}" destId="{8AECC5BC-2112-6C47-BA97-C703B279B190}" srcOrd="2" destOrd="0" presId="urn:microsoft.com/office/officeart/2005/8/layout/hierarchy3"/>
    <dgm:cxn modelId="{52E37695-A562-4663-89F5-A9B7C396F462}" type="presParOf" srcId="{E2153473-BC31-5845-A6D5-1BA6957C2C0E}" destId="{6023BBE9-C729-A74F-9B11-823A1A565C70}" srcOrd="3" destOrd="0" presId="urn:microsoft.com/office/officeart/2005/8/layout/hierarchy3"/>
    <dgm:cxn modelId="{F1BF9B0B-F75C-4589-8C7C-87C99375355C}" type="presParOf" srcId="{E2153473-BC31-5845-A6D5-1BA6957C2C0E}" destId="{6A58B61E-B9B8-664C-AF64-AB9D200576BF}" srcOrd="4" destOrd="0" presId="urn:microsoft.com/office/officeart/2005/8/layout/hierarchy3"/>
    <dgm:cxn modelId="{E9BA599E-975D-4B0E-A955-E900DD7A14E4}" type="presParOf" srcId="{E2153473-BC31-5845-A6D5-1BA6957C2C0E}" destId="{F8F89AFA-7427-B447-B5EA-897B3007A5D0}" srcOrd="5" destOrd="0" presId="urn:microsoft.com/office/officeart/2005/8/layout/hierarchy3"/>
    <dgm:cxn modelId="{1311934A-18CC-488F-9E3C-D4D030C46346}" type="presParOf" srcId="{3DA2996A-B9CC-754B-A3CD-41FF8722C935}" destId="{D5782773-546F-4B43-B653-C19630E96BA7}" srcOrd="2" destOrd="0" presId="urn:microsoft.com/office/officeart/2005/8/layout/hierarchy3"/>
    <dgm:cxn modelId="{6B2A41DA-0620-41D8-89FE-6A01993931AC}" type="presParOf" srcId="{D5782773-546F-4B43-B653-C19630E96BA7}" destId="{640E051F-BBD0-6741-9C3C-B97A7DCE4BF5}" srcOrd="0" destOrd="0" presId="urn:microsoft.com/office/officeart/2005/8/layout/hierarchy3"/>
    <dgm:cxn modelId="{70467675-D16A-4065-9C3C-F90742FE8C05}" type="presParOf" srcId="{640E051F-BBD0-6741-9C3C-B97A7DCE4BF5}" destId="{07B8B408-BBEA-5347-BC4A-13FA8D964551}" srcOrd="0" destOrd="0" presId="urn:microsoft.com/office/officeart/2005/8/layout/hierarchy3"/>
    <dgm:cxn modelId="{3E0B6CBB-E249-41E0-8393-DE6B9143B130}" type="presParOf" srcId="{640E051F-BBD0-6741-9C3C-B97A7DCE4BF5}" destId="{3EA10360-C008-6E4F-801E-D8671B796508}" srcOrd="1" destOrd="0" presId="urn:microsoft.com/office/officeart/2005/8/layout/hierarchy3"/>
    <dgm:cxn modelId="{B66DAA4F-F6CF-4D76-9883-4B2C3B2B305C}" type="presParOf" srcId="{D5782773-546F-4B43-B653-C19630E96BA7}" destId="{4958449E-9195-834A-9D01-00FEC0F80FDB}" srcOrd="1" destOrd="0" presId="urn:microsoft.com/office/officeart/2005/8/layout/hierarchy3"/>
    <dgm:cxn modelId="{F528CD2C-343B-45E4-A1BA-9368F8CE3DCF}" type="presParOf" srcId="{4958449E-9195-834A-9D01-00FEC0F80FDB}" destId="{9F877505-089D-AE47-A1F1-6C24D9394F4F}" srcOrd="0" destOrd="0" presId="urn:microsoft.com/office/officeart/2005/8/layout/hierarchy3"/>
    <dgm:cxn modelId="{A2ACE055-E478-4830-B7E5-3AB85C0DFA7B}" type="presParOf" srcId="{4958449E-9195-834A-9D01-00FEC0F80FDB}" destId="{6FE81644-B710-2848-8BE0-2E9C1E143939}" srcOrd="1" destOrd="0" presId="urn:microsoft.com/office/officeart/2005/8/layout/hierarchy3"/>
    <dgm:cxn modelId="{741F6CFA-2A39-41F8-8BE1-4BABBAE04477}" type="presParOf" srcId="{4958449E-9195-834A-9D01-00FEC0F80FDB}" destId="{40E2CB40-9B00-E748-B505-5DD3E635E558}" srcOrd="2" destOrd="0" presId="urn:microsoft.com/office/officeart/2005/8/layout/hierarchy3"/>
    <dgm:cxn modelId="{235CECA0-67C1-4626-B6CB-1E5451D2D216}" type="presParOf" srcId="{4958449E-9195-834A-9D01-00FEC0F80FDB}" destId="{3632657C-BFC7-224C-84FA-CA5FAF7AD56D}" srcOrd="3" destOrd="0" presId="urn:microsoft.com/office/officeart/2005/8/layout/hierarchy3"/>
    <dgm:cxn modelId="{1E055C41-CD51-4AB1-9BDB-8C2898693232}" type="presParOf" srcId="{3DA2996A-B9CC-754B-A3CD-41FF8722C935}" destId="{98B7D865-64B7-E34C-AC7A-85423EB28E74}" srcOrd="3" destOrd="0" presId="urn:microsoft.com/office/officeart/2005/8/layout/hierarchy3"/>
    <dgm:cxn modelId="{B58247C5-8AD6-4CC1-A386-929E3ADEC9FD}" type="presParOf" srcId="{98B7D865-64B7-E34C-AC7A-85423EB28E74}" destId="{6F698E34-A0C1-DB47-BA5F-E9ED61FC76FC}" srcOrd="0" destOrd="0" presId="urn:microsoft.com/office/officeart/2005/8/layout/hierarchy3"/>
    <dgm:cxn modelId="{8E6E443C-3326-4AD3-8C03-7C5239B69586}" type="presParOf" srcId="{6F698E34-A0C1-DB47-BA5F-E9ED61FC76FC}" destId="{20E4A332-023C-354A-A82F-E68BD57D1F45}" srcOrd="0" destOrd="0" presId="urn:microsoft.com/office/officeart/2005/8/layout/hierarchy3"/>
    <dgm:cxn modelId="{AAB81BB2-2B7B-4E53-AF34-C59791CAFEAA}" type="presParOf" srcId="{6F698E34-A0C1-DB47-BA5F-E9ED61FC76FC}" destId="{8D2DA61F-636E-4C4F-917A-A69C97043AB4}" srcOrd="1" destOrd="0" presId="urn:microsoft.com/office/officeart/2005/8/layout/hierarchy3"/>
    <dgm:cxn modelId="{3C5ACE94-544E-469F-A57C-D7D06671E4EC}" type="presParOf" srcId="{98B7D865-64B7-E34C-AC7A-85423EB28E74}" destId="{3D423C43-8A36-9449-8EE3-38CC78B49084}" srcOrd="1" destOrd="0" presId="urn:microsoft.com/office/officeart/2005/8/layout/hierarchy3"/>
    <dgm:cxn modelId="{0B691189-7BFC-47B5-8740-BE3AA183C96D}" type="presParOf" srcId="{3D423C43-8A36-9449-8EE3-38CC78B49084}" destId="{96C0B8AD-0DBD-D346-8EE3-09BFB11167B9}" srcOrd="0" destOrd="0" presId="urn:microsoft.com/office/officeart/2005/8/layout/hierarchy3"/>
    <dgm:cxn modelId="{CD6E1BD3-584B-4F41-BA91-576F5B9A4A49}" type="presParOf" srcId="{3D423C43-8A36-9449-8EE3-38CC78B49084}" destId="{DA57115A-100A-0B4A-9BAC-ABEC59ABB382}" srcOrd="1" destOrd="0" presId="urn:microsoft.com/office/officeart/2005/8/layout/hierarchy3"/>
    <dgm:cxn modelId="{D16581CA-6310-4999-8E78-3C4A07163CCA}" type="presParOf" srcId="{3D423C43-8A36-9449-8EE3-38CC78B49084}" destId="{DD922611-B3FD-504D-B7FB-01A6B7FC4849}" srcOrd="2" destOrd="0" presId="urn:microsoft.com/office/officeart/2005/8/layout/hierarchy3"/>
    <dgm:cxn modelId="{D7EA08B6-AB0A-48C6-9FB3-E538BB6838BF}" type="presParOf" srcId="{3D423C43-8A36-9449-8EE3-38CC78B49084}" destId="{3394CABE-AB99-1C4A-B9C0-729743D086F2}" srcOrd="3" destOrd="0" presId="urn:microsoft.com/office/officeart/2005/8/layout/hierarchy3"/>
    <dgm:cxn modelId="{8554151A-A41A-4031-BDB7-23491E3F7320}" type="presParOf" srcId="{3DA2996A-B9CC-754B-A3CD-41FF8722C935}" destId="{4EDD79EB-12A8-3845-8B34-819F37DDE97D}" srcOrd="4" destOrd="0" presId="urn:microsoft.com/office/officeart/2005/8/layout/hierarchy3"/>
    <dgm:cxn modelId="{A0303018-1B6A-4AF2-A31F-9334F9598277}" type="presParOf" srcId="{4EDD79EB-12A8-3845-8B34-819F37DDE97D}" destId="{5FD2D44A-9250-6242-A721-DECC9E950A9E}" srcOrd="0" destOrd="0" presId="urn:microsoft.com/office/officeart/2005/8/layout/hierarchy3"/>
    <dgm:cxn modelId="{C8E10241-0462-4299-B8CC-C66F14F6BA56}" type="presParOf" srcId="{5FD2D44A-9250-6242-A721-DECC9E950A9E}" destId="{8A3AFC21-FCDC-294F-83C4-28C57F26AA02}" srcOrd="0" destOrd="0" presId="urn:microsoft.com/office/officeart/2005/8/layout/hierarchy3"/>
    <dgm:cxn modelId="{C50A4A1A-4DD6-4859-B67E-51DEFE495DA2}" type="presParOf" srcId="{5FD2D44A-9250-6242-A721-DECC9E950A9E}" destId="{5627C395-5AEB-6049-AFCA-210CC7A007BA}" srcOrd="1" destOrd="0" presId="urn:microsoft.com/office/officeart/2005/8/layout/hierarchy3"/>
    <dgm:cxn modelId="{1FBB3AD5-2E0B-4987-BAAE-B48F6955AEA0}" type="presParOf" srcId="{4EDD79EB-12A8-3845-8B34-819F37DDE97D}" destId="{B64C6DDD-FB4D-B245-AE67-CC0175529B3C}" srcOrd="1" destOrd="0" presId="urn:microsoft.com/office/officeart/2005/8/layout/hierarchy3"/>
    <dgm:cxn modelId="{0F3150C5-DF9E-4E66-AD17-8D7F2F00F118}" type="presParOf" srcId="{B64C6DDD-FB4D-B245-AE67-CC0175529B3C}" destId="{E976EDA8-6C28-DE4A-87DF-710404B66FFB}" srcOrd="0" destOrd="0" presId="urn:microsoft.com/office/officeart/2005/8/layout/hierarchy3"/>
    <dgm:cxn modelId="{589FC790-3193-480B-90F9-977FF0E82C03}" type="presParOf" srcId="{B64C6DDD-FB4D-B245-AE67-CC0175529B3C}" destId="{23B72943-9D2C-B447-9862-078C01E5CD48}" srcOrd="1" destOrd="0" presId="urn:microsoft.com/office/officeart/2005/8/layout/hierarchy3"/>
    <dgm:cxn modelId="{6844BB07-0178-48C4-BD90-D235A9ED121E}" type="presParOf" srcId="{B64C6DDD-FB4D-B245-AE67-CC0175529B3C}" destId="{9DD1C069-7EFF-BE4E-9BEF-C0171B20E754}" srcOrd="2" destOrd="0" presId="urn:microsoft.com/office/officeart/2005/8/layout/hierarchy3"/>
    <dgm:cxn modelId="{B55B1910-E112-4937-AB0C-3FD58526E46F}" type="presParOf" srcId="{B64C6DDD-FB4D-B245-AE67-CC0175529B3C}" destId="{14B23716-2CC8-5148-A061-F33F23804BE5}" srcOrd="3" destOrd="0" presId="urn:microsoft.com/office/officeart/2005/8/layout/hierarchy3"/>
    <dgm:cxn modelId="{32CE3007-0F5B-461B-935C-E7A333C5F2DB}" type="presParOf" srcId="{B64C6DDD-FB4D-B245-AE67-CC0175529B3C}" destId="{B558153D-11A8-6142-B758-300ACA5246DD}" srcOrd="4" destOrd="0" presId="urn:microsoft.com/office/officeart/2005/8/layout/hierarchy3"/>
    <dgm:cxn modelId="{F55E5432-8872-4827-B013-5C69CB02BDD1}" type="presParOf" srcId="{B64C6DDD-FB4D-B245-AE67-CC0175529B3C}" destId="{5F283CA6-EFED-9B45-B629-D2FA0BF4ADCB}" srcOrd="5" destOrd="0" presId="urn:microsoft.com/office/officeart/2005/8/layout/hierarchy3"/>
    <dgm:cxn modelId="{374A75B4-A437-425D-88D9-9A27DC6229E1}" type="presParOf" srcId="{B64C6DDD-FB4D-B245-AE67-CC0175529B3C}" destId="{12865B71-5B1C-3140-BFB5-38937DC9BCE6}" srcOrd="6" destOrd="0" presId="urn:microsoft.com/office/officeart/2005/8/layout/hierarchy3"/>
    <dgm:cxn modelId="{B55288A1-A2E7-41CD-B880-9A909BF078D0}" type="presParOf" srcId="{B64C6DDD-FB4D-B245-AE67-CC0175529B3C}" destId="{ABA92FFD-011E-CD40-84AF-075B95B64B93}" srcOrd="7" destOrd="0" presId="urn:microsoft.com/office/officeart/2005/8/layout/hierarchy3"/>
    <dgm:cxn modelId="{0769D821-CC52-47EA-8C98-74805F9B00E3}" type="presParOf" srcId="{3DA2996A-B9CC-754B-A3CD-41FF8722C935}" destId="{BA4AF88A-9F88-3B47-A7E0-FF47907435A1}" srcOrd="5" destOrd="0" presId="urn:microsoft.com/office/officeart/2005/8/layout/hierarchy3"/>
    <dgm:cxn modelId="{9B5F2AF6-D6AC-4632-8228-F3CFBA65211E}" type="presParOf" srcId="{BA4AF88A-9F88-3B47-A7E0-FF47907435A1}" destId="{73E51ADC-1E5D-264D-9298-5FB5C1963DAD}" srcOrd="0" destOrd="0" presId="urn:microsoft.com/office/officeart/2005/8/layout/hierarchy3"/>
    <dgm:cxn modelId="{2F19D19B-99BC-49E5-8D21-93A49FEA0CB6}" type="presParOf" srcId="{73E51ADC-1E5D-264D-9298-5FB5C1963DAD}" destId="{7C4B08AE-504D-5445-8927-ABADC132B1EA}" srcOrd="0" destOrd="0" presId="urn:microsoft.com/office/officeart/2005/8/layout/hierarchy3"/>
    <dgm:cxn modelId="{7C133547-C978-45B4-BE43-0B4D743E674A}" type="presParOf" srcId="{73E51ADC-1E5D-264D-9298-5FB5C1963DAD}" destId="{7E8E6DBD-621F-D641-8A93-A92DC836FF95}" srcOrd="1" destOrd="0" presId="urn:microsoft.com/office/officeart/2005/8/layout/hierarchy3"/>
    <dgm:cxn modelId="{07537378-622D-4542-868E-5CE4DC2BFF2B}" type="presParOf" srcId="{BA4AF88A-9F88-3B47-A7E0-FF47907435A1}" destId="{51D245AE-8965-5241-B830-73449F62C854}" srcOrd="1" destOrd="0" presId="urn:microsoft.com/office/officeart/2005/8/layout/hierarchy3"/>
    <dgm:cxn modelId="{446AC7AE-1EAE-4136-B65D-7E16C811DE13}" type="presParOf" srcId="{51D245AE-8965-5241-B830-73449F62C854}" destId="{6C7CCA5F-C27C-C242-A47B-5B9938F66569}" srcOrd="0" destOrd="0" presId="urn:microsoft.com/office/officeart/2005/8/layout/hierarchy3"/>
    <dgm:cxn modelId="{1C4782D8-67F0-4830-852A-BE9133BE0605}" type="presParOf" srcId="{51D245AE-8965-5241-B830-73449F62C854}" destId="{9B3581C4-2FD4-694B-98B7-571A5B50C826}" srcOrd="1" destOrd="0" presId="urn:microsoft.com/office/officeart/2005/8/layout/hierarchy3"/>
    <dgm:cxn modelId="{43042688-FE72-4254-AD54-A89CD9665DDE}" type="presParOf" srcId="{51D245AE-8965-5241-B830-73449F62C854}" destId="{4236FFC8-1C6E-D94D-BE64-0D9C3F213F9C}" srcOrd="2" destOrd="0" presId="urn:microsoft.com/office/officeart/2005/8/layout/hierarchy3"/>
    <dgm:cxn modelId="{DF402384-7580-4AD8-810B-52F65E59E18D}" type="presParOf" srcId="{51D245AE-8965-5241-B830-73449F62C854}" destId="{997B334E-E3E7-484A-94FD-9FE98B06E5D3}" srcOrd="3" destOrd="0" presId="urn:microsoft.com/office/officeart/2005/8/layout/hierarchy3"/>
    <dgm:cxn modelId="{44E96444-E77D-4837-A94C-B288D88D17F2}" type="presParOf" srcId="{51D245AE-8965-5241-B830-73449F62C854}" destId="{1F173F23-D7E9-2140-98A9-81B7F6662385}" srcOrd="4" destOrd="0" presId="urn:microsoft.com/office/officeart/2005/8/layout/hierarchy3"/>
    <dgm:cxn modelId="{E86D90F8-D08B-4E7A-A130-8A0357273F0D}" type="presParOf" srcId="{51D245AE-8965-5241-B830-73449F62C854}" destId="{EE3028E2-F2A6-A548-A078-22AA4CF2097D}" srcOrd="5" destOrd="0" presId="urn:microsoft.com/office/officeart/2005/8/layout/hierarchy3"/>
    <dgm:cxn modelId="{73C9C41C-17DD-43FE-94B4-B2F8E6AA0972}" type="presParOf" srcId="{51D245AE-8965-5241-B830-73449F62C854}" destId="{35EA8B6E-7CBA-3C46-ACBA-B28BF59A2486}" srcOrd="6" destOrd="0" presId="urn:microsoft.com/office/officeart/2005/8/layout/hierarchy3"/>
    <dgm:cxn modelId="{45580654-DEAB-431F-A73F-D8B9BE5D10E9}" type="presParOf" srcId="{51D245AE-8965-5241-B830-73449F62C854}" destId="{092E03E6-0390-364F-B243-BCD0C52801E2}" srcOrd="7" destOrd="0" presId="urn:microsoft.com/office/officeart/2005/8/layout/hierarchy3"/>
    <dgm:cxn modelId="{BAF262B7-3954-4D29-9FC6-822C47C3C204}" type="presParOf" srcId="{51D245AE-8965-5241-B830-73449F62C854}" destId="{5E914F32-FE04-9D4B-B1A1-C47F3DB5E6F2}" srcOrd="8" destOrd="0" presId="urn:microsoft.com/office/officeart/2005/8/layout/hierarchy3"/>
    <dgm:cxn modelId="{D2748365-FBB7-4E2B-9CBF-11818BA0591B}" type="presParOf" srcId="{51D245AE-8965-5241-B830-73449F62C854}" destId="{CC575E2B-BF36-C244-BFA9-0A26DD34CB23}" srcOrd="9" destOrd="0" presId="urn:microsoft.com/office/officeart/2005/8/layout/hierarchy3"/>
    <dgm:cxn modelId="{936902CB-0C59-418B-BC0A-3FEEDF7D184D}" type="presParOf" srcId="{3DA2996A-B9CC-754B-A3CD-41FF8722C935}" destId="{14B39D54-97F4-A642-8172-D4845DF6B17C}" srcOrd="6" destOrd="0" presId="urn:microsoft.com/office/officeart/2005/8/layout/hierarchy3"/>
    <dgm:cxn modelId="{F9241BAA-D1C9-4E42-957E-C8EA85B4E1E1}" type="presParOf" srcId="{14B39D54-97F4-A642-8172-D4845DF6B17C}" destId="{3ED6C7EF-24BB-7342-8D42-B1DAABDCCBDF}" srcOrd="0" destOrd="0" presId="urn:microsoft.com/office/officeart/2005/8/layout/hierarchy3"/>
    <dgm:cxn modelId="{5216A330-9EE0-4E3E-9015-5BC9D89E5CA5}" type="presParOf" srcId="{3ED6C7EF-24BB-7342-8D42-B1DAABDCCBDF}" destId="{51CA69B9-995A-3146-AEC4-A30299EAFD91}" srcOrd="0" destOrd="0" presId="urn:microsoft.com/office/officeart/2005/8/layout/hierarchy3"/>
    <dgm:cxn modelId="{DDBD38F2-ACE7-417D-88A8-548FBEC6529E}" type="presParOf" srcId="{3ED6C7EF-24BB-7342-8D42-B1DAABDCCBDF}" destId="{A3EBC1A4-3CA1-964A-8FB8-1070D94A0A1C}" srcOrd="1" destOrd="0" presId="urn:microsoft.com/office/officeart/2005/8/layout/hierarchy3"/>
    <dgm:cxn modelId="{787425E6-3AE0-4354-BFD0-8D37289DECAC}" type="presParOf" srcId="{14B39D54-97F4-A642-8172-D4845DF6B17C}" destId="{A8A13AA4-94BD-1E4B-9957-85A2CC29447C}" srcOrd="1" destOrd="0" presId="urn:microsoft.com/office/officeart/2005/8/layout/hierarchy3"/>
    <dgm:cxn modelId="{02B8B885-BE54-45B2-A843-A953D07BE85B}" type="presParOf" srcId="{A8A13AA4-94BD-1E4B-9957-85A2CC29447C}" destId="{437448C7-8D9E-894B-8A39-BF62597BFD1F}" srcOrd="0" destOrd="0" presId="urn:microsoft.com/office/officeart/2005/8/layout/hierarchy3"/>
    <dgm:cxn modelId="{A46EB154-CD76-470F-B273-0BCA66B66E31}" type="presParOf" srcId="{A8A13AA4-94BD-1E4B-9957-85A2CC29447C}" destId="{80FE65BA-CA7D-9B4B-8240-226E315E8C05}" srcOrd="1" destOrd="0" presId="urn:microsoft.com/office/officeart/2005/8/layout/hierarchy3"/>
    <dgm:cxn modelId="{C586DECF-DA09-4E5E-8327-42967A634F4C}" type="presParOf" srcId="{A8A13AA4-94BD-1E4B-9957-85A2CC29447C}" destId="{09E76712-CFC8-9047-BE35-9AED4279CA14}" srcOrd="2" destOrd="0" presId="urn:microsoft.com/office/officeart/2005/8/layout/hierarchy3"/>
    <dgm:cxn modelId="{073B7404-6C7A-4F6B-8967-30967D4C96C7}" type="presParOf" srcId="{A8A13AA4-94BD-1E4B-9957-85A2CC29447C}" destId="{59C8AD72-1FF0-6D4F-ABDA-EF6C6C91D979}" srcOrd="3" destOrd="0" presId="urn:microsoft.com/office/officeart/2005/8/layout/hierarchy3"/>
    <dgm:cxn modelId="{CFFDB1C9-FB97-4B1F-B807-158675F39542}" type="presParOf" srcId="{A8A13AA4-94BD-1E4B-9957-85A2CC29447C}" destId="{4D9FE055-ADA2-6C4F-B60B-7CBC43A089E6}" srcOrd="4" destOrd="0" presId="urn:microsoft.com/office/officeart/2005/8/layout/hierarchy3"/>
    <dgm:cxn modelId="{326F4D17-ED58-49B8-BCE9-5A7933BAB1F1}" type="presParOf" srcId="{A8A13AA4-94BD-1E4B-9957-85A2CC29447C}" destId="{E5C17912-BBD8-EA48-B033-E10027B13EC4}" srcOrd="5" destOrd="0" presId="urn:microsoft.com/office/officeart/2005/8/layout/hierarchy3"/>
    <dgm:cxn modelId="{8E122CE1-11DF-425B-983B-CB9E66F74985}" type="presParOf" srcId="{A8A13AA4-94BD-1E4B-9957-85A2CC29447C}" destId="{5DF2E0AC-F16A-7B43-A3E3-38B736183D8E}" srcOrd="6" destOrd="0" presId="urn:microsoft.com/office/officeart/2005/8/layout/hierarchy3"/>
    <dgm:cxn modelId="{090E573C-7D7B-43BA-9B48-4CD23087336C}" type="presParOf" srcId="{A8A13AA4-94BD-1E4B-9957-85A2CC29447C}" destId="{FCF6F526-FB38-FE4D-A494-4DFFD18DA82E}" srcOrd="7" destOrd="0" presId="urn:microsoft.com/office/officeart/2005/8/layout/hierarchy3"/>
    <dgm:cxn modelId="{A2D111F2-9BB0-40CC-9DF7-BB61E20208B1}" type="presParOf" srcId="{A8A13AA4-94BD-1E4B-9957-85A2CC29447C}" destId="{FC0FD8D0-996E-6443-9AFF-FC093786F2BB}" srcOrd="8" destOrd="0" presId="urn:microsoft.com/office/officeart/2005/8/layout/hierarchy3"/>
    <dgm:cxn modelId="{CBCD8088-6E38-4C41-AF70-915AA901E064}" type="presParOf" srcId="{A8A13AA4-94BD-1E4B-9957-85A2CC29447C}" destId="{9B9AE7A8-612B-0545-961B-2FB089BD92F9}" srcOrd="9" destOrd="0" presId="urn:microsoft.com/office/officeart/2005/8/layout/hierarchy3"/>
    <dgm:cxn modelId="{A081E6DA-7602-4304-B213-99EED0E6402D}" type="presParOf" srcId="{3DA2996A-B9CC-754B-A3CD-41FF8722C935}" destId="{AF6E4287-AEB5-7143-99D0-53C62C5C1F09}" srcOrd="7" destOrd="0" presId="urn:microsoft.com/office/officeart/2005/8/layout/hierarchy3"/>
    <dgm:cxn modelId="{482D9034-C0DD-4335-AE40-353A62DD529F}" type="presParOf" srcId="{AF6E4287-AEB5-7143-99D0-53C62C5C1F09}" destId="{78CFACDA-E4B9-F547-AD11-FB2DED584293}" srcOrd="0" destOrd="0" presId="urn:microsoft.com/office/officeart/2005/8/layout/hierarchy3"/>
    <dgm:cxn modelId="{F2524C93-7B17-4E21-91D8-C14DCA3C7AD5}" type="presParOf" srcId="{78CFACDA-E4B9-F547-AD11-FB2DED584293}" destId="{04A97591-A644-7A4E-A21C-0F455A246C0B}" srcOrd="0" destOrd="0" presId="urn:microsoft.com/office/officeart/2005/8/layout/hierarchy3"/>
    <dgm:cxn modelId="{DA4220D8-83F8-4975-A48E-A7C9D919F357}" type="presParOf" srcId="{78CFACDA-E4B9-F547-AD11-FB2DED584293}" destId="{986E21F7-1EC6-6044-A4BD-94ABA22EBA0E}" srcOrd="1" destOrd="0" presId="urn:microsoft.com/office/officeart/2005/8/layout/hierarchy3"/>
    <dgm:cxn modelId="{E3CB3BEF-72BC-4CED-AD41-BF96087CFBCF}" type="presParOf" srcId="{AF6E4287-AEB5-7143-99D0-53C62C5C1F09}" destId="{8E02AF95-9737-1F40-9B03-D871C623D3B3}" srcOrd="1" destOrd="0" presId="urn:microsoft.com/office/officeart/2005/8/layout/hierarchy3"/>
    <dgm:cxn modelId="{7D1E6F7E-27C1-4558-AE3A-1041C35954AA}" type="presParOf" srcId="{8E02AF95-9737-1F40-9B03-D871C623D3B3}" destId="{B575AD4C-A0B9-C546-951C-87B42CC951D5}" srcOrd="0" destOrd="0" presId="urn:microsoft.com/office/officeart/2005/8/layout/hierarchy3"/>
    <dgm:cxn modelId="{11D100DD-9B7C-4329-B9DA-A9CC29393761}" type="presParOf" srcId="{8E02AF95-9737-1F40-9B03-D871C623D3B3}" destId="{D314026A-2F78-F84E-8045-6675029EDD49}" srcOrd="1" destOrd="0" presId="urn:microsoft.com/office/officeart/2005/8/layout/hierarchy3"/>
    <dgm:cxn modelId="{21D297E8-087D-4941-A9CC-5095889B0245}" type="presParOf" srcId="{8E02AF95-9737-1F40-9B03-D871C623D3B3}" destId="{16E58DE1-A091-5548-8240-35067CD2D11F}" srcOrd="2" destOrd="0" presId="urn:microsoft.com/office/officeart/2005/8/layout/hierarchy3"/>
    <dgm:cxn modelId="{D4586A05-44D0-4596-814B-9AE02139D2B0}" type="presParOf" srcId="{8E02AF95-9737-1F40-9B03-D871C623D3B3}" destId="{EFCCE37F-D0FD-4444-9D80-DBC41CEF80D2}" srcOrd="3" destOrd="0" presId="urn:microsoft.com/office/officeart/2005/8/layout/hierarchy3"/>
    <dgm:cxn modelId="{67C50FC6-D21C-40BD-A0E2-534724EEFE73}" type="presParOf" srcId="{8E02AF95-9737-1F40-9B03-D871C623D3B3}" destId="{7DDFF29B-2975-EF45-B31C-ECD72FD9ABF0}" srcOrd="4" destOrd="0" presId="urn:microsoft.com/office/officeart/2005/8/layout/hierarchy3"/>
    <dgm:cxn modelId="{845C4B68-4FF8-4717-AF74-8019E95A0724}" type="presParOf" srcId="{8E02AF95-9737-1F40-9B03-D871C623D3B3}" destId="{3A801272-935B-9A41-A9D1-B14936F53555}" srcOrd="5" destOrd="0" presId="urn:microsoft.com/office/officeart/2005/8/layout/hierarchy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D9B0BE5-F451-AE44-9B29-AE62DFDE9BAD}" type="doc">
      <dgm:prSet loTypeId="urn:microsoft.com/office/officeart/2005/8/layout/hierarchy3" loCatId="" qsTypeId="urn:microsoft.com/office/officeart/2005/8/quickstyle/simple4" qsCatId="simple" csTypeId="urn:microsoft.com/office/officeart/2005/8/colors/accent0_3" csCatId="mainScheme" phldr="1"/>
      <dgm:spPr/>
      <dgm:t>
        <a:bodyPr/>
        <a:lstStyle/>
        <a:p>
          <a:endParaRPr lang="en-US"/>
        </a:p>
      </dgm:t>
    </dgm:pt>
    <dgm:pt modelId="{A93A9E4C-E7D0-FD43-9FB4-8DBFA8D52D70}">
      <dgm:prSet phldrT="[Text]" custT="1"/>
      <dgm:spPr/>
      <dgm:t>
        <a:bodyPr/>
        <a:lstStyle/>
        <a:p>
          <a:r>
            <a:rPr lang="en-US" sz="1100" b="1" dirty="0"/>
            <a:t>Interaction with External World</a:t>
          </a:r>
        </a:p>
      </dgm:t>
    </dgm:pt>
    <dgm:pt modelId="{2A68335A-5EE8-7946-BC00-E2667CBF3CE7}" type="parTrans" cxnId="{5921D81E-C961-5041-A1DF-0F2C4F7553B6}">
      <dgm:prSet/>
      <dgm:spPr/>
      <dgm:t>
        <a:bodyPr/>
        <a:lstStyle/>
        <a:p>
          <a:endParaRPr lang="en-US" b="1"/>
        </a:p>
      </dgm:t>
    </dgm:pt>
    <dgm:pt modelId="{9B94EF06-5AEB-7C4E-95D8-9DB2D3C38CA9}" type="sibTrans" cxnId="{5921D81E-C961-5041-A1DF-0F2C4F7553B6}">
      <dgm:prSet/>
      <dgm:spPr/>
      <dgm:t>
        <a:bodyPr/>
        <a:lstStyle/>
        <a:p>
          <a:endParaRPr lang="en-US" b="1"/>
        </a:p>
      </dgm:t>
    </dgm:pt>
    <dgm:pt modelId="{42BF2C42-76AF-0C47-87F9-E812DD474A24}">
      <dgm:prSet phldrT="[Text]"/>
      <dgm:spPr/>
      <dgm:t>
        <a:bodyPr/>
        <a:lstStyle/>
        <a:p>
          <a:r>
            <a:rPr lang="en-US" b="1" dirty="0"/>
            <a:t>Centralized Oracle</a:t>
          </a:r>
        </a:p>
      </dgm:t>
    </dgm:pt>
    <dgm:pt modelId="{FC20E98D-423C-7D44-9229-F20C9684638E}" type="parTrans" cxnId="{FB0CF7AB-B4A5-1748-B93F-F032F0819793}">
      <dgm:prSet/>
      <dgm:spPr/>
      <dgm:t>
        <a:bodyPr/>
        <a:lstStyle/>
        <a:p>
          <a:endParaRPr lang="en-US" b="1"/>
        </a:p>
      </dgm:t>
    </dgm:pt>
    <dgm:pt modelId="{8AB44F8F-7C12-D34C-A8C0-B88B856282B8}" type="sibTrans" cxnId="{FB0CF7AB-B4A5-1748-B93F-F032F0819793}">
      <dgm:prSet/>
      <dgm:spPr/>
      <dgm:t>
        <a:bodyPr/>
        <a:lstStyle/>
        <a:p>
          <a:endParaRPr lang="en-US" b="1"/>
        </a:p>
      </dgm:t>
    </dgm:pt>
    <dgm:pt modelId="{93922F64-2A70-7F4F-A483-8B65EADE1C56}">
      <dgm:prSet phldrT="[Text]"/>
      <dgm:spPr/>
      <dgm:t>
        <a:bodyPr/>
        <a:lstStyle/>
        <a:p>
          <a:r>
            <a:rPr lang="en-US" b="1" dirty="0"/>
            <a:t>Decentralized Oracle</a:t>
          </a:r>
        </a:p>
      </dgm:t>
    </dgm:pt>
    <dgm:pt modelId="{EE0E0967-FB18-3843-A445-F9E668C5B807}" type="parTrans" cxnId="{FEA9FBBB-6DAF-E94D-A4C7-F9E9D754E30E}">
      <dgm:prSet/>
      <dgm:spPr/>
      <dgm:t>
        <a:bodyPr/>
        <a:lstStyle/>
        <a:p>
          <a:endParaRPr lang="en-US" b="1"/>
        </a:p>
      </dgm:t>
    </dgm:pt>
    <dgm:pt modelId="{CE6E5C10-3507-BA4C-AF7F-50D58E676809}" type="sibTrans" cxnId="{FEA9FBBB-6DAF-E94D-A4C7-F9E9D754E30E}">
      <dgm:prSet/>
      <dgm:spPr/>
      <dgm:t>
        <a:bodyPr/>
        <a:lstStyle/>
        <a:p>
          <a:endParaRPr lang="en-US" b="1"/>
        </a:p>
      </dgm:t>
    </dgm:pt>
    <dgm:pt modelId="{E45252E5-FABB-8C40-806C-3AFF4E75FCE9}">
      <dgm:prSet phldrT="[Text]" custT="1"/>
      <dgm:spPr/>
      <dgm:t>
        <a:bodyPr/>
        <a:lstStyle/>
        <a:p>
          <a:r>
            <a:rPr lang="en-US" sz="1100" b="1" dirty="0"/>
            <a:t>Data Management</a:t>
          </a:r>
        </a:p>
      </dgm:t>
    </dgm:pt>
    <dgm:pt modelId="{EFF56ECC-82CF-9E48-8A6B-9F7BE1AD3166}" type="parTrans" cxnId="{64AB747B-70D3-BB4D-B4F4-9B27A1465802}">
      <dgm:prSet/>
      <dgm:spPr/>
      <dgm:t>
        <a:bodyPr/>
        <a:lstStyle/>
        <a:p>
          <a:endParaRPr lang="en-US" b="1"/>
        </a:p>
      </dgm:t>
    </dgm:pt>
    <dgm:pt modelId="{52E1C086-FA7D-2241-9528-6BB9F16171F3}" type="sibTrans" cxnId="{64AB747B-70D3-BB4D-B4F4-9B27A1465802}">
      <dgm:prSet/>
      <dgm:spPr/>
      <dgm:t>
        <a:bodyPr/>
        <a:lstStyle/>
        <a:p>
          <a:endParaRPr lang="en-US" b="1"/>
        </a:p>
      </dgm:t>
    </dgm:pt>
    <dgm:pt modelId="{206D0424-0AA5-1944-8E06-3FA46661E66D}">
      <dgm:prSet phldrT="[Text]"/>
      <dgm:spPr/>
      <dgm:t>
        <a:bodyPr/>
        <a:lstStyle/>
        <a:p>
          <a:r>
            <a:rPr lang="en-US" b="1" dirty="0"/>
            <a:t>Encrypting On-chain Data</a:t>
          </a:r>
        </a:p>
      </dgm:t>
    </dgm:pt>
    <dgm:pt modelId="{B91791F1-5F93-AB4C-84CF-846BC1547244}" type="parTrans" cxnId="{3B755B28-7371-B34D-A565-29324668190F}">
      <dgm:prSet/>
      <dgm:spPr/>
      <dgm:t>
        <a:bodyPr/>
        <a:lstStyle/>
        <a:p>
          <a:endParaRPr lang="en-US" b="1"/>
        </a:p>
      </dgm:t>
    </dgm:pt>
    <dgm:pt modelId="{698EEEE6-E658-E842-A101-A179B9FDF06D}" type="sibTrans" cxnId="{3B755B28-7371-B34D-A565-29324668190F}">
      <dgm:prSet/>
      <dgm:spPr/>
      <dgm:t>
        <a:bodyPr/>
        <a:lstStyle/>
        <a:p>
          <a:endParaRPr lang="en-US" b="1"/>
        </a:p>
      </dgm:t>
    </dgm:pt>
    <dgm:pt modelId="{5795DD57-74CB-CB48-8D1D-45DA4D8935E8}">
      <dgm:prSet phldrT="[Text]"/>
      <dgm:spPr/>
      <dgm:t>
        <a:bodyPr/>
        <a:lstStyle/>
        <a:p>
          <a:r>
            <a:rPr lang="en-US" b="1" dirty="0"/>
            <a:t>Voting</a:t>
          </a:r>
        </a:p>
      </dgm:t>
    </dgm:pt>
    <dgm:pt modelId="{6AFE073A-80E7-F748-9A7F-B9B70E9AE933}" type="parTrans" cxnId="{7480D72E-87E8-AA48-BC7C-7F79AAF4E0A7}">
      <dgm:prSet/>
      <dgm:spPr/>
      <dgm:t>
        <a:bodyPr/>
        <a:lstStyle/>
        <a:p>
          <a:endParaRPr lang="en-US" b="1"/>
        </a:p>
      </dgm:t>
    </dgm:pt>
    <dgm:pt modelId="{EECE744A-6A32-6E4F-BC5F-ABDF090D22B7}" type="sibTrans" cxnId="{7480D72E-87E8-AA48-BC7C-7F79AAF4E0A7}">
      <dgm:prSet/>
      <dgm:spPr/>
      <dgm:t>
        <a:bodyPr/>
        <a:lstStyle/>
        <a:p>
          <a:endParaRPr lang="en-US" b="1"/>
        </a:p>
      </dgm:t>
    </dgm:pt>
    <dgm:pt modelId="{3A8FFC6B-BF3F-0D49-A951-6E7772E893A0}">
      <dgm:prSet phldrT="[Text]"/>
      <dgm:spPr/>
      <dgm:t>
        <a:bodyPr/>
        <a:lstStyle/>
        <a:p>
          <a:r>
            <a:rPr lang="en-US" b="1" dirty="0" err="1"/>
            <a:t>Tokenisation</a:t>
          </a:r>
          <a:endParaRPr lang="en-US" b="1" dirty="0"/>
        </a:p>
      </dgm:t>
    </dgm:pt>
    <dgm:pt modelId="{08E4D433-C82D-6B4D-8DB3-EA333B4E418F}" type="parTrans" cxnId="{33ACCC18-5A2F-F04F-9F3E-FC1215629D5A}">
      <dgm:prSet/>
      <dgm:spPr/>
      <dgm:t>
        <a:bodyPr/>
        <a:lstStyle/>
        <a:p>
          <a:endParaRPr lang="en-US" b="1"/>
        </a:p>
      </dgm:t>
    </dgm:pt>
    <dgm:pt modelId="{A7370645-CD41-2C49-8423-6BDAF87D87E7}" type="sibTrans" cxnId="{33ACCC18-5A2F-F04F-9F3E-FC1215629D5A}">
      <dgm:prSet/>
      <dgm:spPr/>
      <dgm:t>
        <a:bodyPr/>
        <a:lstStyle/>
        <a:p>
          <a:endParaRPr lang="en-US" b="1"/>
        </a:p>
      </dgm:t>
    </dgm:pt>
    <dgm:pt modelId="{14DA0B7A-897A-7C41-9759-93C7D9C8F0EA}">
      <dgm:prSet phldrT="[Text]" custT="1"/>
      <dgm:spPr/>
      <dgm:t>
        <a:bodyPr/>
        <a:lstStyle/>
        <a:p>
          <a:r>
            <a:rPr lang="en-US" sz="1100" b="1" dirty="0"/>
            <a:t>Security</a:t>
          </a:r>
        </a:p>
      </dgm:t>
    </dgm:pt>
    <dgm:pt modelId="{D2B86BAF-5275-4D4D-9C82-E31191138425}" type="parTrans" cxnId="{84993AB0-7075-DE4A-A5B4-9CAF94740A6F}">
      <dgm:prSet/>
      <dgm:spPr/>
      <dgm:t>
        <a:bodyPr/>
        <a:lstStyle/>
        <a:p>
          <a:endParaRPr lang="en-US" b="1"/>
        </a:p>
      </dgm:t>
    </dgm:pt>
    <dgm:pt modelId="{E0F68FFC-15D7-CF4B-8542-EE341028D7F9}" type="sibTrans" cxnId="{84993AB0-7075-DE4A-A5B4-9CAF94740A6F}">
      <dgm:prSet/>
      <dgm:spPr/>
      <dgm:t>
        <a:bodyPr/>
        <a:lstStyle/>
        <a:p>
          <a:endParaRPr lang="en-US" b="1"/>
        </a:p>
      </dgm:t>
    </dgm:pt>
    <dgm:pt modelId="{9C97E3CD-9DB7-8547-A1AF-3A54690762ED}">
      <dgm:prSet phldrT="[Text]"/>
      <dgm:spPr/>
      <dgm:t>
        <a:bodyPr/>
        <a:lstStyle/>
        <a:p>
          <a:r>
            <a:rPr lang="en-US" b="1" dirty="0"/>
            <a:t>Multiple Authorization</a:t>
          </a:r>
        </a:p>
      </dgm:t>
    </dgm:pt>
    <dgm:pt modelId="{6DC3CD95-3A31-3D40-AA3D-5BB5D36AE273}" type="parTrans" cxnId="{D65BBDE4-4619-9C49-A3E3-CB9EDAD0E371}">
      <dgm:prSet/>
      <dgm:spPr/>
      <dgm:t>
        <a:bodyPr/>
        <a:lstStyle/>
        <a:p>
          <a:endParaRPr lang="en-US" b="1"/>
        </a:p>
      </dgm:t>
    </dgm:pt>
    <dgm:pt modelId="{DF5AEB34-CC70-9749-8E94-6A2405799434}" type="sibTrans" cxnId="{D65BBDE4-4619-9C49-A3E3-CB9EDAD0E371}">
      <dgm:prSet/>
      <dgm:spPr/>
      <dgm:t>
        <a:bodyPr/>
        <a:lstStyle/>
        <a:p>
          <a:endParaRPr lang="en-US" b="1"/>
        </a:p>
      </dgm:t>
    </dgm:pt>
    <dgm:pt modelId="{4BB958FD-9F3E-B344-BCB4-42AC09735FE8}">
      <dgm:prSet phldrT="[Text]"/>
      <dgm:spPr/>
      <dgm:t>
        <a:bodyPr/>
        <a:lstStyle/>
        <a:p>
          <a:r>
            <a:rPr lang="en-US" b="1" dirty="0"/>
            <a:t>X-confirmation</a:t>
          </a:r>
        </a:p>
      </dgm:t>
    </dgm:pt>
    <dgm:pt modelId="{D693665D-1E30-4E45-8191-F5B6A3F4DF1E}" type="parTrans" cxnId="{1F00DB48-0FCB-5847-A613-168E30AD5D52}">
      <dgm:prSet/>
      <dgm:spPr/>
      <dgm:t>
        <a:bodyPr/>
        <a:lstStyle/>
        <a:p>
          <a:endParaRPr lang="en-US" b="1"/>
        </a:p>
      </dgm:t>
    </dgm:pt>
    <dgm:pt modelId="{765EEAB1-1780-D844-ACD9-03EC80212351}" type="sibTrans" cxnId="{1F00DB48-0FCB-5847-A613-168E30AD5D52}">
      <dgm:prSet/>
      <dgm:spPr/>
      <dgm:t>
        <a:bodyPr/>
        <a:lstStyle/>
        <a:p>
          <a:endParaRPr lang="en-US" b="1"/>
        </a:p>
      </dgm:t>
    </dgm:pt>
    <dgm:pt modelId="{CD9F43A6-8F78-DE4D-81D1-D3D5306C0AA4}">
      <dgm:prSet phldrT="[Text]"/>
      <dgm:spPr/>
      <dgm:t>
        <a:bodyPr/>
        <a:lstStyle/>
        <a:p>
          <a:r>
            <a:rPr lang="en-US" b="1" dirty="0"/>
            <a:t>Security Deposit</a:t>
          </a:r>
        </a:p>
      </dgm:t>
    </dgm:pt>
    <dgm:pt modelId="{25AF418F-5566-C34D-9D1C-F75B9AAB8A1E}" type="parTrans" cxnId="{B6C94F95-56C7-5541-96EF-5D3833EC2A4D}">
      <dgm:prSet/>
      <dgm:spPr/>
      <dgm:t>
        <a:bodyPr/>
        <a:lstStyle/>
        <a:p>
          <a:endParaRPr lang="en-US" b="1"/>
        </a:p>
      </dgm:t>
    </dgm:pt>
    <dgm:pt modelId="{5FF41155-7CC2-554A-BBF3-93BD3CA9CC63}" type="sibTrans" cxnId="{B6C94F95-56C7-5541-96EF-5D3833EC2A4D}">
      <dgm:prSet/>
      <dgm:spPr/>
      <dgm:t>
        <a:bodyPr/>
        <a:lstStyle/>
        <a:p>
          <a:endParaRPr lang="en-US" b="1"/>
        </a:p>
      </dgm:t>
    </dgm:pt>
    <dgm:pt modelId="{83FDFBF5-3880-C34C-9F88-A7C7CC3A1EA2}">
      <dgm:prSet phldrT="[Text]" custT="1"/>
      <dgm:spPr/>
      <dgm:t>
        <a:bodyPr/>
        <a:lstStyle/>
        <a:p>
          <a:r>
            <a:rPr lang="en-US" sz="1100" b="1" dirty="0"/>
            <a:t>Contract Structural Patterns</a:t>
          </a:r>
        </a:p>
      </dgm:t>
    </dgm:pt>
    <dgm:pt modelId="{64C92EAF-A4BF-6240-8D33-6CF3A1E0E8EA}" type="parTrans" cxnId="{DBFDD6D2-463A-244E-921C-BC50EE2E21EB}">
      <dgm:prSet/>
      <dgm:spPr/>
      <dgm:t>
        <a:bodyPr/>
        <a:lstStyle/>
        <a:p>
          <a:endParaRPr lang="en-US" b="1"/>
        </a:p>
      </dgm:t>
    </dgm:pt>
    <dgm:pt modelId="{1A6786D2-A08D-E049-AFB2-E72E5DCEFF2F}" type="sibTrans" cxnId="{DBFDD6D2-463A-244E-921C-BC50EE2E21EB}">
      <dgm:prSet/>
      <dgm:spPr/>
      <dgm:t>
        <a:bodyPr/>
        <a:lstStyle/>
        <a:p>
          <a:endParaRPr lang="en-US" b="1"/>
        </a:p>
      </dgm:t>
    </dgm:pt>
    <dgm:pt modelId="{C064CADF-FE71-0043-B9BC-E5BAAFA28C01}">
      <dgm:prSet phldrT="[Text]"/>
      <dgm:spPr/>
      <dgm:t>
        <a:bodyPr/>
        <a:lstStyle/>
        <a:p>
          <a:r>
            <a:rPr lang="en-US" b="1" dirty="0"/>
            <a:t>Contract Registry</a:t>
          </a:r>
        </a:p>
      </dgm:t>
    </dgm:pt>
    <dgm:pt modelId="{8D01A9D7-1A6D-E144-B16A-654748C59E4C}" type="parTrans" cxnId="{79208053-7846-E842-AAEA-CC0A69602FC3}">
      <dgm:prSet/>
      <dgm:spPr/>
      <dgm:t>
        <a:bodyPr/>
        <a:lstStyle/>
        <a:p>
          <a:endParaRPr lang="en-US" b="1"/>
        </a:p>
      </dgm:t>
    </dgm:pt>
    <dgm:pt modelId="{24D9B3E1-21EF-B34D-9245-1F0C4390EE86}" type="sibTrans" cxnId="{79208053-7846-E842-AAEA-CC0A69602FC3}">
      <dgm:prSet/>
      <dgm:spPr/>
      <dgm:t>
        <a:bodyPr/>
        <a:lstStyle/>
        <a:p>
          <a:endParaRPr lang="en-US" b="1"/>
        </a:p>
      </dgm:t>
    </dgm:pt>
    <dgm:pt modelId="{E048C408-DFFD-2A4B-AD60-BFF6809DC491}">
      <dgm:prSet phldrT="[Text]"/>
      <dgm:spPr/>
      <dgm:t>
        <a:bodyPr/>
        <a:lstStyle/>
        <a:p>
          <a:r>
            <a:rPr lang="en-US" b="1" dirty="0"/>
            <a:t>Embedded Permission</a:t>
          </a:r>
        </a:p>
      </dgm:t>
    </dgm:pt>
    <dgm:pt modelId="{CFA64A71-BA9D-FE4B-894D-C3B37A8B6732}" type="parTrans" cxnId="{3A7D9C13-BA99-1341-9604-4229A9B67365}">
      <dgm:prSet/>
      <dgm:spPr/>
      <dgm:t>
        <a:bodyPr/>
        <a:lstStyle/>
        <a:p>
          <a:endParaRPr lang="en-US" b="1"/>
        </a:p>
      </dgm:t>
    </dgm:pt>
    <dgm:pt modelId="{F7F02BF2-BF8D-0A4E-A604-49385B5ECEA1}" type="sibTrans" cxnId="{3A7D9C13-BA99-1341-9604-4229A9B67365}">
      <dgm:prSet/>
      <dgm:spPr/>
      <dgm:t>
        <a:bodyPr/>
        <a:lstStyle/>
        <a:p>
          <a:endParaRPr lang="en-US" b="1"/>
        </a:p>
      </dgm:t>
    </dgm:pt>
    <dgm:pt modelId="{800EA581-401F-E443-AF44-372A0410D0D3}">
      <dgm:prSet phldrT="[Text]"/>
      <dgm:spPr/>
      <dgm:t>
        <a:bodyPr/>
        <a:lstStyle/>
        <a:p>
          <a:r>
            <a:rPr lang="en-US" b="1" dirty="0"/>
            <a:t>Data Contract</a:t>
          </a:r>
        </a:p>
      </dgm:t>
    </dgm:pt>
    <dgm:pt modelId="{3A825C8F-5C22-DC4C-9096-7603543CCA2E}" type="parTrans" cxnId="{DE60B85A-F816-F548-8517-AEBBF49030C1}">
      <dgm:prSet/>
      <dgm:spPr/>
      <dgm:t>
        <a:bodyPr/>
        <a:lstStyle/>
        <a:p>
          <a:endParaRPr lang="en-US" b="1"/>
        </a:p>
      </dgm:t>
    </dgm:pt>
    <dgm:pt modelId="{65ADC1C0-435E-EB48-80C5-F08981257D68}" type="sibTrans" cxnId="{DE60B85A-F816-F548-8517-AEBBF49030C1}">
      <dgm:prSet/>
      <dgm:spPr/>
      <dgm:t>
        <a:bodyPr/>
        <a:lstStyle/>
        <a:p>
          <a:endParaRPr lang="en-US" b="1"/>
        </a:p>
      </dgm:t>
    </dgm:pt>
    <dgm:pt modelId="{C7CD03D8-0BB1-624B-B92E-3CA5BA861352}">
      <dgm:prSet phldrT="[Text]"/>
      <dgm:spPr/>
      <dgm:t>
        <a:bodyPr/>
        <a:lstStyle/>
        <a:p>
          <a:r>
            <a:rPr lang="en-US" b="1" dirty="0"/>
            <a:t>Factory Contract</a:t>
          </a:r>
        </a:p>
      </dgm:t>
    </dgm:pt>
    <dgm:pt modelId="{09FD0A1D-78DE-F64D-BE33-9B33758A8E1E}" type="parTrans" cxnId="{9FA96202-515E-3C49-91C4-665194E6AA8D}">
      <dgm:prSet/>
      <dgm:spPr/>
      <dgm:t>
        <a:bodyPr/>
        <a:lstStyle/>
        <a:p>
          <a:endParaRPr lang="en-US" b="1"/>
        </a:p>
      </dgm:t>
    </dgm:pt>
    <dgm:pt modelId="{9CC5CB52-E772-2B46-B434-7D27450ECF4A}" type="sibTrans" cxnId="{9FA96202-515E-3C49-91C4-665194E6AA8D}">
      <dgm:prSet/>
      <dgm:spPr/>
      <dgm:t>
        <a:bodyPr/>
        <a:lstStyle/>
        <a:p>
          <a:endParaRPr lang="en-US" b="1"/>
        </a:p>
      </dgm:t>
    </dgm:pt>
    <dgm:pt modelId="{AECD768C-62D5-FB40-9404-3DEB1DC0CCFC}">
      <dgm:prSet phldrT="[Text]"/>
      <dgm:spPr/>
      <dgm:t>
        <a:bodyPr/>
        <a:lstStyle/>
        <a:p>
          <a:r>
            <a:rPr lang="en-US" b="1" dirty="0"/>
            <a:t>Incentive Execution</a:t>
          </a:r>
        </a:p>
      </dgm:t>
    </dgm:pt>
    <dgm:pt modelId="{C17C17C7-3F20-054E-AB0E-50F06C686A2A}" type="parTrans" cxnId="{09E42F05-D932-BF4E-80E0-4EFDC24A69A1}">
      <dgm:prSet/>
      <dgm:spPr/>
      <dgm:t>
        <a:bodyPr/>
        <a:lstStyle/>
        <a:p>
          <a:endParaRPr lang="en-US" b="1"/>
        </a:p>
      </dgm:t>
    </dgm:pt>
    <dgm:pt modelId="{50838162-1AD2-C64B-8356-F56C7ECEFED2}" type="sibTrans" cxnId="{09E42F05-D932-BF4E-80E0-4EFDC24A69A1}">
      <dgm:prSet/>
      <dgm:spPr/>
      <dgm:t>
        <a:bodyPr/>
        <a:lstStyle/>
        <a:p>
          <a:endParaRPr lang="en-US" b="1"/>
        </a:p>
      </dgm:t>
    </dgm:pt>
    <dgm:pt modelId="{AE805E67-4EA8-E44E-977C-CE7A6905D586}">
      <dgm:prSet phldrT="[Text]" custT="1"/>
      <dgm:spPr/>
      <dgm:t>
        <a:bodyPr/>
        <a:lstStyle/>
        <a:p>
          <a:r>
            <a:rPr lang="en-US" sz="1100" b="1" dirty="0"/>
            <a:t>Deployment</a:t>
          </a:r>
        </a:p>
      </dgm:t>
    </dgm:pt>
    <dgm:pt modelId="{F62ACB79-F0B7-564F-A02E-275C0C646988}" type="parTrans" cxnId="{F0593E88-DE20-114A-A748-1E4C4F5E9767}">
      <dgm:prSet/>
      <dgm:spPr/>
      <dgm:t>
        <a:bodyPr/>
        <a:lstStyle/>
        <a:p>
          <a:endParaRPr lang="en-US" b="1"/>
        </a:p>
      </dgm:t>
    </dgm:pt>
    <dgm:pt modelId="{20A19F98-901A-124B-B679-5A49740AA061}" type="sibTrans" cxnId="{F0593E88-DE20-114A-A748-1E4C4F5E9767}">
      <dgm:prSet/>
      <dgm:spPr/>
      <dgm:t>
        <a:bodyPr/>
        <a:lstStyle/>
        <a:p>
          <a:endParaRPr lang="en-US" b="1"/>
        </a:p>
      </dgm:t>
    </dgm:pt>
    <dgm:pt modelId="{1E59CAD3-9F6E-FD4F-BAF7-EF4CC902E143}">
      <dgm:prSet phldrT="[Text]"/>
      <dgm:spPr/>
      <dgm:t>
        <a:bodyPr/>
        <a:lstStyle/>
        <a:p>
          <a:r>
            <a:rPr lang="en-US" b="1" dirty="0"/>
            <a:t>Semi-</a:t>
          </a:r>
          <a:r>
            <a:rPr lang="en-US" b="1" dirty="0" err="1"/>
            <a:t>dapp</a:t>
          </a:r>
          <a:endParaRPr lang="en-US" b="1" dirty="0"/>
        </a:p>
      </dgm:t>
    </dgm:pt>
    <dgm:pt modelId="{980B70E5-30DC-1C47-A775-4EFAE7B3F939}" type="parTrans" cxnId="{43A62CFB-DBB4-D84F-A6CA-4777F4553E76}">
      <dgm:prSet/>
      <dgm:spPr/>
      <dgm:t>
        <a:bodyPr/>
        <a:lstStyle/>
        <a:p>
          <a:endParaRPr lang="en-US" b="1"/>
        </a:p>
      </dgm:t>
    </dgm:pt>
    <dgm:pt modelId="{DBDD853A-F9F1-8F4C-928D-3D6FA5A0F10C}" type="sibTrans" cxnId="{43A62CFB-DBB4-D84F-A6CA-4777F4553E76}">
      <dgm:prSet/>
      <dgm:spPr/>
      <dgm:t>
        <a:bodyPr/>
        <a:lstStyle/>
        <a:p>
          <a:endParaRPr lang="en-US" b="1"/>
        </a:p>
      </dgm:t>
    </dgm:pt>
    <dgm:pt modelId="{C2697DC4-583D-BB44-81DC-86E313B73653}">
      <dgm:prSet phldrT="[Text]"/>
      <dgm:spPr/>
      <dgm:t>
        <a:bodyPr/>
        <a:lstStyle/>
        <a:p>
          <a:r>
            <a:rPr lang="en-US" b="1" dirty="0" err="1"/>
            <a:t>dapp</a:t>
          </a:r>
          <a:endParaRPr lang="en-US" b="1" dirty="0"/>
        </a:p>
      </dgm:t>
    </dgm:pt>
    <dgm:pt modelId="{2891CC72-C4C8-4E42-8F5E-A6C8C6D002B0}" type="parTrans" cxnId="{DCCAE682-29A8-0849-9091-0A0A80156B79}">
      <dgm:prSet/>
      <dgm:spPr/>
      <dgm:t>
        <a:bodyPr/>
        <a:lstStyle/>
        <a:p>
          <a:endParaRPr lang="en-US" b="1"/>
        </a:p>
      </dgm:t>
    </dgm:pt>
    <dgm:pt modelId="{5EAE4E19-5AB0-564F-8904-3BC7AAA9AD5C}" type="sibTrans" cxnId="{DCCAE682-29A8-0849-9091-0A0A80156B79}">
      <dgm:prSet/>
      <dgm:spPr/>
      <dgm:t>
        <a:bodyPr/>
        <a:lstStyle/>
        <a:p>
          <a:endParaRPr lang="en-US" b="1"/>
        </a:p>
      </dgm:t>
    </dgm:pt>
    <dgm:pt modelId="{5C410414-BDEA-A640-9DBE-2BE4F41CC57A}">
      <dgm:prSet phldrT="[Text]"/>
      <dgm:spPr/>
      <dgm:t>
        <a:bodyPr/>
        <a:lstStyle/>
        <a:p>
          <a:r>
            <a:rPr lang="en-US" b="1" dirty="0"/>
            <a:t>Legal and Smart Contract Pair</a:t>
          </a:r>
        </a:p>
      </dgm:t>
    </dgm:pt>
    <dgm:pt modelId="{A1220BA8-1B0D-E947-ACEC-A4409A4A2808}" type="parTrans" cxnId="{9AC4EEE6-314F-4345-8177-4E31B3AF23D6}">
      <dgm:prSet/>
      <dgm:spPr/>
      <dgm:t>
        <a:bodyPr/>
        <a:lstStyle/>
        <a:p>
          <a:endParaRPr lang="en-US"/>
        </a:p>
      </dgm:t>
    </dgm:pt>
    <dgm:pt modelId="{73A0378E-2B63-B546-A1F3-E2DC0D0C8CC6}" type="sibTrans" cxnId="{9AC4EEE6-314F-4345-8177-4E31B3AF23D6}">
      <dgm:prSet/>
      <dgm:spPr/>
      <dgm:t>
        <a:bodyPr/>
        <a:lstStyle/>
        <a:p>
          <a:endParaRPr lang="en-US"/>
        </a:p>
      </dgm:t>
    </dgm:pt>
    <dgm:pt modelId="{9C8C6F10-0861-024F-B313-D860E27B22FC}">
      <dgm:prSet phldrT="[Text]"/>
      <dgm:spPr/>
      <dgm:t>
        <a:bodyPr/>
        <a:lstStyle/>
        <a:p>
          <a:r>
            <a:rPr lang="en-US" b="1" dirty="0"/>
            <a:t>Reverse Oracle</a:t>
          </a:r>
        </a:p>
      </dgm:t>
    </dgm:pt>
    <dgm:pt modelId="{A5B2F138-9715-E242-8CC8-A027957736BF}" type="sibTrans" cxnId="{1D7A922F-C6D5-7645-9B9F-21AF5EB2B4BD}">
      <dgm:prSet/>
      <dgm:spPr/>
      <dgm:t>
        <a:bodyPr/>
        <a:lstStyle/>
        <a:p>
          <a:endParaRPr lang="en-US" b="1"/>
        </a:p>
      </dgm:t>
    </dgm:pt>
    <dgm:pt modelId="{F59CACE4-682F-7A4D-92F2-3B1FBBF01AE8}" type="parTrans" cxnId="{1D7A922F-C6D5-7645-9B9F-21AF5EB2B4BD}">
      <dgm:prSet/>
      <dgm:spPr/>
      <dgm:t>
        <a:bodyPr/>
        <a:lstStyle/>
        <a:p>
          <a:endParaRPr lang="en-US" b="1"/>
        </a:p>
      </dgm:t>
    </dgm:pt>
    <dgm:pt modelId="{1A43F41A-952A-8D4A-96DD-5994AED170B7}">
      <dgm:prSet phldrT="[Text]"/>
      <dgm:spPr/>
      <dgm:t>
        <a:bodyPr/>
        <a:lstStyle/>
        <a:p>
          <a:r>
            <a:rPr lang="en-US" b="1" dirty="0"/>
            <a:t>Off-chain Data Storage</a:t>
          </a:r>
        </a:p>
      </dgm:t>
    </dgm:pt>
    <dgm:pt modelId="{CA5D1486-C56C-594C-905E-13012BA57F9F}" type="parTrans" cxnId="{17B64441-6710-BD4B-8BCA-12D6D8C2AD54}">
      <dgm:prSet/>
      <dgm:spPr/>
      <dgm:t>
        <a:bodyPr/>
        <a:lstStyle/>
        <a:p>
          <a:endParaRPr lang="en-US"/>
        </a:p>
      </dgm:t>
    </dgm:pt>
    <dgm:pt modelId="{DB309734-0602-A845-82B0-D06B8580D2C4}" type="sibTrans" cxnId="{17B64441-6710-BD4B-8BCA-12D6D8C2AD54}">
      <dgm:prSet/>
      <dgm:spPr/>
      <dgm:t>
        <a:bodyPr/>
        <a:lstStyle/>
        <a:p>
          <a:endParaRPr lang="en-US"/>
        </a:p>
      </dgm:t>
    </dgm:pt>
    <dgm:pt modelId="{0CD26FE5-FCFA-4E44-BF9A-A90E33BD5F9A}">
      <dgm:prSet phldrT="[Text]"/>
      <dgm:spPr/>
      <dgm:t>
        <a:bodyPr/>
        <a:lstStyle/>
        <a:p>
          <a:r>
            <a:rPr lang="en-US" b="1" dirty="0"/>
            <a:t>State Channel</a:t>
          </a:r>
        </a:p>
      </dgm:t>
    </dgm:pt>
    <dgm:pt modelId="{299921CB-0981-C243-BCFB-6CDAF30964CE}" type="parTrans" cxnId="{AD9328ED-D8F1-7442-BACD-CAD6807A04BD}">
      <dgm:prSet/>
      <dgm:spPr/>
      <dgm:t>
        <a:bodyPr/>
        <a:lstStyle/>
        <a:p>
          <a:endParaRPr lang="en-US"/>
        </a:p>
      </dgm:t>
    </dgm:pt>
    <dgm:pt modelId="{70716163-2DCF-E44A-B350-F696C702CFC1}" type="sibTrans" cxnId="{AD9328ED-D8F1-7442-BACD-CAD6807A04BD}">
      <dgm:prSet/>
      <dgm:spPr/>
      <dgm:t>
        <a:bodyPr/>
        <a:lstStyle/>
        <a:p>
          <a:endParaRPr lang="en-US"/>
        </a:p>
      </dgm:t>
    </dgm:pt>
    <dgm:pt modelId="{D2DC4467-C2C2-8A4E-960B-CB89039407FD}">
      <dgm:prSet phldrT="[Text]"/>
      <dgm:spPr/>
      <dgm:t>
        <a:bodyPr/>
        <a:lstStyle/>
        <a:p>
          <a:r>
            <a:rPr lang="en-US" b="1" dirty="0"/>
            <a:t>Dynamic Authorization</a:t>
          </a:r>
        </a:p>
      </dgm:t>
    </dgm:pt>
    <dgm:pt modelId="{401C2EE8-FE3D-0245-95E9-232E1246F33E}" type="parTrans" cxnId="{40105A16-B8B1-AD44-99B7-8191C901FA57}">
      <dgm:prSet/>
      <dgm:spPr/>
      <dgm:t>
        <a:bodyPr/>
        <a:lstStyle/>
        <a:p>
          <a:endParaRPr lang="en-US"/>
        </a:p>
      </dgm:t>
    </dgm:pt>
    <dgm:pt modelId="{0BE55F7B-756E-6142-BD65-272D8B129CD6}" type="sibTrans" cxnId="{40105A16-B8B1-AD44-99B7-8191C901FA57}">
      <dgm:prSet/>
      <dgm:spPr/>
      <dgm:t>
        <a:bodyPr/>
        <a:lstStyle/>
        <a:p>
          <a:endParaRPr lang="en-US"/>
        </a:p>
      </dgm:t>
    </dgm:pt>
    <dgm:pt modelId="{16F309D4-BE1B-8D44-A2FF-C8BCEAD0DD2A}" type="pres">
      <dgm:prSet presAssocID="{6D9B0BE5-F451-AE44-9B29-AE62DFDE9BAD}" presName="diagram" presStyleCnt="0">
        <dgm:presLayoutVars>
          <dgm:chPref val="1"/>
          <dgm:dir/>
          <dgm:animOne val="branch"/>
          <dgm:animLvl val="lvl"/>
          <dgm:resizeHandles/>
        </dgm:presLayoutVars>
      </dgm:prSet>
      <dgm:spPr/>
    </dgm:pt>
    <dgm:pt modelId="{3DDC912D-8E1C-FC40-8BE1-FC7633F2A656}" type="pres">
      <dgm:prSet presAssocID="{A93A9E4C-E7D0-FD43-9FB4-8DBFA8D52D70}" presName="root" presStyleCnt="0"/>
      <dgm:spPr/>
    </dgm:pt>
    <dgm:pt modelId="{D2840C6D-7CF9-004A-B564-C355E09D9DF8}" type="pres">
      <dgm:prSet presAssocID="{A93A9E4C-E7D0-FD43-9FB4-8DBFA8D52D70}" presName="rootComposite" presStyleCnt="0"/>
      <dgm:spPr/>
    </dgm:pt>
    <dgm:pt modelId="{4D8ABC0C-6D7F-824A-921B-618D8A3A8EB1}" type="pres">
      <dgm:prSet presAssocID="{A93A9E4C-E7D0-FD43-9FB4-8DBFA8D52D70}" presName="rootText" presStyleLbl="node1" presStyleIdx="0" presStyleCnt="5"/>
      <dgm:spPr/>
    </dgm:pt>
    <dgm:pt modelId="{2909E014-6738-864A-AF59-65F10CC999ED}" type="pres">
      <dgm:prSet presAssocID="{A93A9E4C-E7D0-FD43-9FB4-8DBFA8D52D70}" presName="rootConnector" presStyleLbl="node1" presStyleIdx="0" presStyleCnt="5"/>
      <dgm:spPr/>
    </dgm:pt>
    <dgm:pt modelId="{12C4B6BF-E8D8-AE43-A701-F7E2A777D60C}" type="pres">
      <dgm:prSet presAssocID="{A93A9E4C-E7D0-FD43-9FB4-8DBFA8D52D70}" presName="childShape" presStyleCnt="0"/>
      <dgm:spPr/>
    </dgm:pt>
    <dgm:pt modelId="{3F514349-0FED-5C41-B786-EE797FD6A6ED}" type="pres">
      <dgm:prSet presAssocID="{FC20E98D-423C-7D44-9229-F20C9684638E}" presName="Name13" presStyleLbl="parChTrans1D2" presStyleIdx="0" presStyleCnt="20"/>
      <dgm:spPr/>
    </dgm:pt>
    <dgm:pt modelId="{0D6F72C5-DE37-E941-AD44-5970467C2A96}" type="pres">
      <dgm:prSet presAssocID="{42BF2C42-76AF-0C47-87F9-E812DD474A24}" presName="childText" presStyleLbl="bgAcc1" presStyleIdx="0" presStyleCnt="20">
        <dgm:presLayoutVars>
          <dgm:bulletEnabled val="1"/>
        </dgm:presLayoutVars>
      </dgm:prSet>
      <dgm:spPr/>
    </dgm:pt>
    <dgm:pt modelId="{D5ADA3D3-42F7-7E46-8A26-E9B8F121314A}" type="pres">
      <dgm:prSet presAssocID="{EE0E0967-FB18-3843-A445-F9E668C5B807}" presName="Name13" presStyleLbl="parChTrans1D2" presStyleIdx="1" presStyleCnt="20"/>
      <dgm:spPr/>
    </dgm:pt>
    <dgm:pt modelId="{5829D355-4F9B-754E-8384-23AF734D3DC1}" type="pres">
      <dgm:prSet presAssocID="{93922F64-2A70-7F4F-A483-8B65EADE1C56}" presName="childText" presStyleLbl="bgAcc1" presStyleIdx="1" presStyleCnt="20">
        <dgm:presLayoutVars>
          <dgm:bulletEnabled val="1"/>
        </dgm:presLayoutVars>
      </dgm:prSet>
      <dgm:spPr/>
    </dgm:pt>
    <dgm:pt modelId="{0D5AF32C-FEAC-B940-AEF9-113FD4C540C5}" type="pres">
      <dgm:prSet presAssocID="{6AFE073A-80E7-F748-9A7F-B9B70E9AE933}" presName="Name13" presStyleLbl="parChTrans1D2" presStyleIdx="2" presStyleCnt="20"/>
      <dgm:spPr/>
    </dgm:pt>
    <dgm:pt modelId="{710A9C0B-B81D-0947-8B02-F4620CE15477}" type="pres">
      <dgm:prSet presAssocID="{5795DD57-74CB-CB48-8D1D-45DA4D8935E8}" presName="childText" presStyleLbl="bgAcc1" presStyleIdx="2" presStyleCnt="20">
        <dgm:presLayoutVars>
          <dgm:bulletEnabled val="1"/>
        </dgm:presLayoutVars>
      </dgm:prSet>
      <dgm:spPr/>
    </dgm:pt>
    <dgm:pt modelId="{59399A21-1752-9641-909F-1DF60D99EC93}" type="pres">
      <dgm:prSet presAssocID="{A1220BA8-1B0D-E947-ACEC-A4409A4A2808}" presName="Name13" presStyleLbl="parChTrans1D2" presStyleIdx="3" presStyleCnt="20"/>
      <dgm:spPr/>
    </dgm:pt>
    <dgm:pt modelId="{169F2B92-7101-9A4A-83D1-C2CF5AF28505}" type="pres">
      <dgm:prSet presAssocID="{5C410414-BDEA-A640-9DBE-2BE4F41CC57A}" presName="childText" presStyleLbl="bgAcc1" presStyleIdx="3" presStyleCnt="20">
        <dgm:presLayoutVars>
          <dgm:bulletEnabled val="1"/>
        </dgm:presLayoutVars>
      </dgm:prSet>
      <dgm:spPr/>
    </dgm:pt>
    <dgm:pt modelId="{C1B131E3-501B-D54B-87C3-86BF06BB35E8}" type="pres">
      <dgm:prSet presAssocID="{F59CACE4-682F-7A4D-92F2-3B1FBBF01AE8}" presName="Name13" presStyleLbl="parChTrans1D2" presStyleIdx="4" presStyleCnt="20"/>
      <dgm:spPr/>
    </dgm:pt>
    <dgm:pt modelId="{4A6CB5A3-1BA1-7E4B-8C56-627C34B6ECD3}" type="pres">
      <dgm:prSet presAssocID="{9C8C6F10-0861-024F-B313-D860E27B22FC}" presName="childText" presStyleLbl="bgAcc1" presStyleIdx="4" presStyleCnt="20">
        <dgm:presLayoutVars>
          <dgm:bulletEnabled val="1"/>
        </dgm:presLayoutVars>
      </dgm:prSet>
      <dgm:spPr/>
    </dgm:pt>
    <dgm:pt modelId="{A96934A9-523B-374E-8C2C-7909AAC40CA6}" type="pres">
      <dgm:prSet presAssocID="{E45252E5-FABB-8C40-806C-3AFF4E75FCE9}" presName="root" presStyleCnt="0"/>
      <dgm:spPr/>
    </dgm:pt>
    <dgm:pt modelId="{F25E26AF-11C2-7749-8719-C27F23C8B04A}" type="pres">
      <dgm:prSet presAssocID="{E45252E5-FABB-8C40-806C-3AFF4E75FCE9}" presName="rootComposite" presStyleCnt="0"/>
      <dgm:spPr/>
    </dgm:pt>
    <dgm:pt modelId="{587C74AE-3394-DC49-8CB1-76A0BCD058A4}" type="pres">
      <dgm:prSet presAssocID="{E45252E5-FABB-8C40-806C-3AFF4E75FCE9}" presName="rootText" presStyleLbl="node1" presStyleIdx="1" presStyleCnt="5"/>
      <dgm:spPr/>
    </dgm:pt>
    <dgm:pt modelId="{242389FB-B41A-B840-98D8-A9B4FB6A89AF}" type="pres">
      <dgm:prSet presAssocID="{E45252E5-FABB-8C40-806C-3AFF4E75FCE9}" presName="rootConnector" presStyleLbl="node1" presStyleIdx="1" presStyleCnt="5"/>
      <dgm:spPr/>
    </dgm:pt>
    <dgm:pt modelId="{DEA32703-74CA-6747-A77B-3BB9BDFE1AED}" type="pres">
      <dgm:prSet presAssocID="{E45252E5-FABB-8C40-806C-3AFF4E75FCE9}" presName="childShape" presStyleCnt="0"/>
      <dgm:spPr/>
    </dgm:pt>
    <dgm:pt modelId="{BA439008-8DC7-6F4F-BB51-CC1D048D6E8D}" type="pres">
      <dgm:prSet presAssocID="{CA5D1486-C56C-594C-905E-13012BA57F9F}" presName="Name13" presStyleLbl="parChTrans1D2" presStyleIdx="5" presStyleCnt="20"/>
      <dgm:spPr/>
    </dgm:pt>
    <dgm:pt modelId="{EC7CC600-EAD4-7449-B71C-71141DC3A933}" type="pres">
      <dgm:prSet presAssocID="{1A43F41A-952A-8D4A-96DD-5994AED170B7}" presName="childText" presStyleLbl="bgAcc1" presStyleIdx="5" presStyleCnt="20">
        <dgm:presLayoutVars>
          <dgm:bulletEnabled val="1"/>
        </dgm:presLayoutVars>
      </dgm:prSet>
      <dgm:spPr/>
    </dgm:pt>
    <dgm:pt modelId="{E10A6EA2-0E21-A04F-8004-BFC9A0538066}" type="pres">
      <dgm:prSet presAssocID="{299921CB-0981-C243-BCFB-6CDAF30964CE}" presName="Name13" presStyleLbl="parChTrans1D2" presStyleIdx="6" presStyleCnt="20"/>
      <dgm:spPr/>
    </dgm:pt>
    <dgm:pt modelId="{0802B708-C3AC-C64A-B8CF-25D102BF4DB4}" type="pres">
      <dgm:prSet presAssocID="{0CD26FE5-FCFA-4E44-BF9A-A90E33BD5F9A}" presName="childText" presStyleLbl="bgAcc1" presStyleIdx="6" presStyleCnt="20">
        <dgm:presLayoutVars>
          <dgm:bulletEnabled val="1"/>
        </dgm:presLayoutVars>
      </dgm:prSet>
      <dgm:spPr/>
    </dgm:pt>
    <dgm:pt modelId="{BF408421-FF0A-F54E-B93E-57AA7AC549C4}" type="pres">
      <dgm:prSet presAssocID="{B91791F1-5F93-AB4C-84CF-846BC1547244}" presName="Name13" presStyleLbl="parChTrans1D2" presStyleIdx="7" presStyleCnt="20"/>
      <dgm:spPr/>
    </dgm:pt>
    <dgm:pt modelId="{0F6014B9-FF15-0546-AA04-F591028B596A}" type="pres">
      <dgm:prSet presAssocID="{206D0424-0AA5-1944-8E06-3FA46661E66D}" presName="childText" presStyleLbl="bgAcc1" presStyleIdx="7" presStyleCnt="20">
        <dgm:presLayoutVars>
          <dgm:bulletEnabled val="1"/>
        </dgm:presLayoutVars>
      </dgm:prSet>
      <dgm:spPr/>
    </dgm:pt>
    <dgm:pt modelId="{BEB443A0-BDD9-EC4C-9347-4016B3AFF79C}" type="pres">
      <dgm:prSet presAssocID="{08E4D433-C82D-6B4D-8DB3-EA333B4E418F}" presName="Name13" presStyleLbl="parChTrans1D2" presStyleIdx="8" presStyleCnt="20"/>
      <dgm:spPr/>
    </dgm:pt>
    <dgm:pt modelId="{BEF1671F-3DF5-494B-AE25-2434EBDA1A68}" type="pres">
      <dgm:prSet presAssocID="{3A8FFC6B-BF3F-0D49-A951-6E7772E893A0}" presName="childText" presStyleLbl="bgAcc1" presStyleIdx="8" presStyleCnt="20">
        <dgm:presLayoutVars>
          <dgm:bulletEnabled val="1"/>
        </dgm:presLayoutVars>
      </dgm:prSet>
      <dgm:spPr/>
    </dgm:pt>
    <dgm:pt modelId="{CB370BBE-A024-9A49-910B-F9983E11F7A8}" type="pres">
      <dgm:prSet presAssocID="{14DA0B7A-897A-7C41-9759-93C7D9C8F0EA}" presName="root" presStyleCnt="0"/>
      <dgm:spPr/>
    </dgm:pt>
    <dgm:pt modelId="{7B728FFD-E6EB-4248-AF75-26D3B09973CC}" type="pres">
      <dgm:prSet presAssocID="{14DA0B7A-897A-7C41-9759-93C7D9C8F0EA}" presName="rootComposite" presStyleCnt="0"/>
      <dgm:spPr/>
    </dgm:pt>
    <dgm:pt modelId="{7634BA55-D044-B248-8F77-5614E76D7120}" type="pres">
      <dgm:prSet presAssocID="{14DA0B7A-897A-7C41-9759-93C7D9C8F0EA}" presName="rootText" presStyleLbl="node1" presStyleIdx="2" presStyleCnt="5"/>
      <dgm:spPr/>
    </dgm:pt>
    <dgm:pt modelId="{2D2AA0B9-FFE1-3F4D-A350-15F910F3BD22}" type="pres">
      <dgm:prSet presAssocID="{14DA0B7A-897A-7C41-9759-93C7D9C8F0EA}" presName="rootConnector" presStyleLbl="node1" presStyleIdx="2" presStyleCnt="5"/>
      <dgm:spPr/>
    </dgm:pt>
    <dgm:pt modelId="{41D64697-6E39-5C4A-A402-EFBD9B357B22}" type="pres">
      <dgm:prSet presAssocID="{14DA0B7A-897A-7C41-9759-93C7D9C8F0EA}" presName="childShape" presStyleCnt="0"/>
      <dgm:spPr/>
    </dgm:pt>
    <dgm:pt modelId="{1AE04E00-72C6-3B42-81CF-52ED553CDC38}" type="pres">
      <dgm:prSet presAssocID="{401C2EE8-FE3D-0245-95E9-232E1246F33E}" presName="Name13" presStyleLbl="parChTrans1D2" presStyleIdx="9" presStyleCnt="20"/>
      <dgm:spPr/>
    </dgm:pt>
    <dgm:pt modelId="{357FEADB-5D8F-E343-88F9-3F0C634B3357}" type="pres">
      <dgm:prSet presAssocID="{D2DC4467-C2C2-8A4E-960B-CB89039407FD}" presName="childText" presStyleLbl="bgAcc1" presStyleIdx="9" presStyleCnt="20">
        <dgm:presLayoutVars>
          <dgm:bulletEnabled val="1"/>
        </dgm:presLayoutVars>
      </dgm:prSet>
      <dgm:spPr/>
    </dgm:pt>
    <dgm:pt modelId="{616DEDF7-72CD-4B41-826B-4210486F480B}" type="pres">
      <dgm:prSet presAssocID="{6DC3CD95-3A31-3D40-AA3D-5BB5D36AE273}" presName="Name13" presStyleLbl="parChTrans1D2" presStyleIdx="10" presStyleCnt="20"/>
      <dgm:spPr/>
    </dgm:pt>
    <dgm:pt modelId="{CE2BE487-796D-8A42-81EB-73B1FF7FA130}" type="pres">
      <dgm:prSet presAssocID="{9C97E3CD-9DB7-8547-A1AF-3A54690762ED}" presName="childText" presStyleLbl="bgAcc1" presStyleIdx="10" presStyleCnt="20">
        <dgm:presLayoutVars>
          <dgm:bulletEnabled val="1"/>
        </dgm:presLayoutVars>
      </dgm:prSet>
      <dgm:spPr/>
    </dgm:pt>
    <dgm:pt modelId="{161E2220-9CCC-FC4A-8FB2-63C6E682F6DF}" type="pres">
      <dgm:prSet presAssocID="{D693665D-1E30-4E45-8191-F5B6A3F4DF1E}" presName="Name13" presStyleLbl="parChTrans1D2" presStyleIdx="11" presStyleCnt="20"/>
      <dgm:spPr/>
    </dgm:pt>
    <dgm:pt modelId="{4E24FB6B-4ED1-9B47-AF93-F82344D22B18}" type="pres">
      <dgm:prSet presAssocID="{4BB958FD-9F3E-B344-BCB4-42AC09735FE8}" presName="childText" presStyleLbl="bgAcc1" presStyleIdx="11" presStyleCnt="20">
        <dgm:presLayoutVars>
          <dgm:bulletEnabled val="1"/>
        </dgm:presLayoutVars>
      </dgm:prSet>
      <dgm:spPr/>
    </dgm:pt>
    <dgm:pt modelId="{62372CAD-8CEA-5249-B725-06E12ECDABED}" type="pres">
      <dgm:prSet presAssocID="{25AF418F-5566-C34D-9D1C-F75B9AAB8A1E}" presName="Name13" presStyleLbl="parChTrans1D2" presStyleIdx="12" presStyleCnt="20"/>
      <dgm:spPr/>
    </dgm:pt>
    <dgm:pt modelId="{B14971FA-8479-2647-910A-061B76333F31}" type="pres">
      <dgm:prSet presAssocID="{CD9F43A6-8F78-DE4D-81D1-D3D5306C0AA4}" presName="childText" presStyleLbl="bgAcc1" presStyleIdx="12" presStyleCnt="20">
        <dgm:presLayoutVars>
          <dgm:bulletEnabled val="1"/>
        </dgm:presLayoutVars>
      </dgm:prSet>
      <dgm:spPr/>
    </dgm:pt>
    <dgm:pt modelId="{0B92FC74-4071-764A-A2F7-8B7BC1055406}" type="pres">
      <dgm:prSet presAssocID="{83FDFBF5-3880-C34C-9F88-A7C7CC3A1EA2}" presName="root" presStyleCnt="0"/>
      <dgm:spPr/>
    </dgm:pt>
    <dgm:pt modelId="{7BE5EE51-5566-A34B-BEC5-6D9956914C98}" type="pres">
      <dgm:prSet presAssocID="{83FDFBF5-3880-C34C-9F88-A7C7CC3A1EA2}" presName="rootComposite" presStyleCnt="0"/>
      <dgm:spPr/>
    </dgm:pt>
    <dgm:pt modelId="{2FA8F23F-35CD-C54A-8783-629A03772AEC}" type="pres">
      <dgm:prSet presAssocID="{83FDFBF5-3880-C34C-9F88-A7C7CC3A1EA2}" presName="rootText" presStyleLbl="node1" presStyleIdx="3" presStyleCnt="5"/>
      <dgm:spPr/>
    </dgm:pt>
    <dgm:pt modelId="{40C13E8D-350F-9F47-8B40-A10BE8257C70}" type="pres">
      <dgm:prSet presAssocID="{83FDFBF5-3880-C34C-9F88-A7C7CC3A1EA2}" presName="rootConnector" presStyleLbl="node1" presStyleIdx="3" presStyleCnt="5"/>
      <dgm:spPr/>
    </dgm:pt>
    <dgm:pt modelId="{4DCBCE0A-FB7A-D648-968B-63FF67ACDB8C}" type="pres">
      <dgm:prSet presAssocID="{83FDFBF5-3880-C34C-9F88-A7C7CC3A1EA2}" presName="childShape" presStyleCnt="0"/>
      <dgm:spPr/>
    </dgm:pt>
    <dgm:pt modelId="{9E84B493-25F5-DF4D-8ECA-FEBA7BDB38A6}" type="pres">
      <dgm:prSet presAssocID="{8D01A9D7-1A6D-E144-B16A-654748C59E4C}" presName="Name13" presStyleLbl="parChTrans1D2" presStyleIdx="13" presStyleCnt="20"/>
      <dgm:spPr/>
    </dgm:pt>
    <dgm:pt modelId="{6383FD56-CDCD-2945-B041-9B16034E0889}" type="pres">
      <dgm:prSet presAssocID="{C064CADF-FE71-0043-B9BC-E5BAAFA28C01}" presName="childText" presStyleLbl="bgAcc1" presStyleIdx="13" presStyleCnt="20">
        <dgm:presLayoutVars>
          <dgm:bulletEnabled val="1"/>
        </dgm:presLayoutVars>
      </dgm:prSet>
      <dgm:spPr/>
    </dgm:pt>
    <dgm:pt modelId="{3FB2E1DB-7F77-A940-A44D-A2EBF02F6AA8}" type="pres">
      <dgm:prSet presAssocID="{CFA64A71-BA9D-FE4B-894D-C3B37A8B6732}" presName="Name13" presStyleLbl="parChTrans1D2" presStyleIdx="14" presStyleCnt="20"/>
      <dgm:spPr/>
    </dgm:pt>
    <dgm:pt modelId="{84AF0035-BFE5-2044-A7EB-39D21B6B4C23}" type="pres">
      <dgm:prSet presAssocID="{E048C408-DFFD-2A4B-AD60-BFF6809DC491}" presName="childText" presStyleLbl="bgAcc1" presStyleIdx="14" presStyleCnt="20">
        <dgm:presLayoutVars>
          <dgm:bulletEnabled val="1"/>
        </dgm:presLayoutVars>
      </dgm:prSet>
      <dgm:spPr/>
    </dgm:pt>
    <dgm:pt modelId="{6544270F-F7B6-E049-B33D-1DD08D2C8DA4}" type="pres">
      <dgm:prSet presAssocID="{3A825C8F-5C22-DC4C-9096-7603543CCA2E}" presName="Name13" presStyleLbl="parChTrans1D2" presStyleIdx="15" presStyleCnt="20"/>
      <dgm:spPr/>
    </dgm:pt>
    <dgm:pt modelId="{CD3B654E-F569-E741-95FD-BAEB3D862512}" type="pres">
      <dgm:prSet presAssocID="{800EA581-401F-E443-AF44-372A0410D0D3}" presName="childText" presStyleLbl="bgAcc1" presStyleIdx="15" presStyleCnt="20">
        <dgm:presLayoutVars>
          <dgm:bulletEnabled val="1"/>
        </dgm:presLayoutVars>
      </dgm:prSet>
      <dgm:spPr/>
    </dgm:pt>
    <dgm:pt modelId="{A766C9EF-D2E9-D042-A8CB-171425FDB28D}" type="pres">
      <dgm:prSet presAssocID="{09FD0A1D-78DE-F64D-BE33-9B33758A8E1E}" presName="Name13" presStyleLbl="parChTrans1D2" presStyleIdx="16" presStyleCnt="20"/>
      <dgm:spPr/>
    </dgm:pt>
    <dgm:pt modelId="{E6601567-ED76-D74F-A58C-75189A8C23BF}" type="pres">
      <dgm:prSet presAssocID="{C7CD03D8-0BB1-624B-B92E-3CA5BA861352}" presName="childText" presStyleLbl="bgAcc1" presStyleIdx="16" presStyleCnt="20">
        <dgm:presLayoutVars>
          <dgm:bulletEnabled val="1"/>
        </dgm:presLayoutVars>
      </dgm:prSet>
      <dgm:spPr/>
    </dgm:pt>
    <dgm:pt modelId="{4775D44D-645E-E249-ADDE-D82E8C608398}" type="pres">
      <dgm:prSet presAssocID="{C17C17C7-3F20-054E-AB0E-50F06C686A2A}" presName="Name13" presStyleLbl="parChTrans1D2" presStyleIdx="17" presStyleCnt="20"/>
      <dgm:spPr/>
    </dgm:pt>
    <dgm:pt modelId="{051EB7AD-8953-834A-8746-11F852A289E6}" type="pres">
      <dgm:prSet presAssocID="{AECD768C-62D5-FB40-9404-3DEB1DC0CCFC}" presName="childText" presStyleLbl="bgAcc1" presStyleIdx="17" presStyleCnt="20">
        <dgm:presLayoutVars>
          <dgm:bulletEnabled val="1"/>
        </dgm:presLayoutVars>
      </dgm:prSet>
      <dgm:spPr/>
    </dgm:pt>
    <dgm:pt modelId="{719EB4DA-DF2C-5D44-A48A-750440292576}" type="pres">
      <dgm:prSet presAssocID="{AE805E67-4EA8-E44E-977C-CE7A6905D586}" presName="root" presStyleCnt="0"/>
      <dgm:spPr/>
    </dgm:pt>
    <dgm:pt modelId="{39FC2340-0F74-CF48-9C7B-51D8F6F2215E}" type="pres">
      <dgm:prSet presAssocID="{AE805E67-4EA8-E44E-977C-CE7A6905D586}" presName="rootComposite" presStyleCnt="0"/>
      <dgm:spPr/>
    </dgm:pt>
    <dgm:pt modelId="{F22BDB45-6DFC-C945-B9D7-19948CF5FF0A}" type="pres">
      <dgm:prSet presAssocID="{AE805E67-4EA8-E44E-977C-CE7A6905D586}" presName="rootText" presStyleLbl="node1" presStyleIdx="4" presStyleCnt="5"/>
      <dgm:spPr/>
    </dgm:pt>
    <dgm:pt modelId="{31ED4CE2-5851-2844-95C2-49FB992474CB}" type="pres">
      <dgm:prSet presAssocID="{AE805E67-4EA8-E44E-977C-CE7A6905D586}" presName="rootConnector" presStyleLbl="node1" presStyleIdx="4" presStyleCnt="5"/>
      <dgm:spPr/>
    </dgm:pt>
    <dgm:pt modelId="{43DD40E6-F2F7-A242-93A4-9837A08DBC2B}" type="pres">
      <dgm:prSet presAssocID="{AE805E67-4EA8-E44E-977C-CE7A6905D586}" presName="childShape" presStyleCnt="0"/>
      <dgm:spPr/>
    </dgm:pt>
    <dgm:pt modelId="{9BB28569-8A99-3547-82B9-E7AE7B791E8E}" type="pres">
      <dgm:prSet presAssocID="{980B70E5-30DC-1C47-A775-4EFAE7B3F939}" presName="Name13" presStyleLbl="parChTrans1D2" presStyleIdx="18" presStyleCnt="20"/>
      <dgm:spPr/>
    </dgm:pt>
    <dgm:pt modelId="{D6C47007-297A-9149-B858-94EACBFC3B98}" type="pres">
      <dgm:prSet presAssocID="{1E59CAD3-9F6E-FD4F-BAF7-EF4CC902E143}" presName="childText" presStyleLbl="bgAcc1" presStyleIdx="18" presStyleCnt="20">
        <dgm:presLayoutVars>
          <dgm:bulletEnabled val="1"/>
        </dgm:presLayoutVars>
      </dgm:prSet>
      <dgm:spPr/>
    </dgm:pt>
    <dgm:pt modelId="{57251F56-0827-F642-9213-6BAF8C24320C}" type="pres">
      <dgm:prSet presAssocID="{2891CC72-C4C8-4E42-8F5E-A6C8C6D002B0}" presName="Name13" presStyleLbl="parChTrans1D2" presStyleIdx="19" presStyleCnt="20"/>
      <dgm:spPr/>
    </dgm:pt>
    <dgm:pt modelId="{18EDD8C2-B42A-184F-9F26-A856FFE0B12C}" type="pres">
      <dgm:prSet presAssocID="{C2697DC4-583D-BB44-81DC-86E313B73653}" presName="childText" presStyleLbl="bgAcc1" presStyleIdx="19" presStyleCnt="20">
        <dgm:presLayoutVars>
          <dgm:bulletEnabled val="1"/>
        </dgm:presLayoutVars>
      </dgm:prSet>
      <dgm:spPr/>
    </dgm:pt>
  </dgm:ptLst>
  <dgm:cxnLst>
    <dgm:cxn modelId="{9FA96202-515E-3C49-91C4-665194E6AA8D}" srcId="{83FDFBF5-3880-C34C-9F88-A7C7CC3A1EA2}" destId="{C7CD03D8-0BB1-624B-B92E-3CA5BA861352}" srcOrd="3" destOrd="0" parTransId="{09FD0A1D-78DE-F64D-BE33-9B33758A8E1E}" sibTransId="{9CC5CB52-E772-2B46-B434-7D27450ECF4A}"/>
    <dgm:cxn modelId="{09E42F05-D932-BF4E-80E0-4EFDC24A69A1}" srcId="{83FDFBF5-3880-C34C-9F88-A7C7CC3A1EA2}" destId="{AECD768C-62D5-FB40-9404-3DEB1DC0CCFC}" srcOrd="4" destOrd="0" parTransId="{C17C17C7-3F20-054E-AB0E-50F06C686A2A}" sibTransId="{50838162-1AD2-C64B-8356-F56C7ECEFED2}"/>
    <dgm:cxn modelId="{B9744B05-315C-1D4E-9884-ED9FC951F1D3}" type="presOf" srcId="{F59CACE4-682F-7A4D-92F2-3B1FBBF01AE8}" destId="{C1B131E3-501B-D54B-87C3-86BF06BB35E8}" srcOrd="0" destOrd="0" presId="urn:microsoft.com/office/officeart/2005/8/layout/hierarchy3"/>
    <dgm:cxn modelId="{6DB2560D-48CD-2D42-BF81-51CF343477A9}" type="presOf" srcId="{401C2EE8-FE3D-0245-95E9-232E1246F33E}" destId="{1AE04E00-72C6-3B42-81CF-52ED553CDC38}" srcOrd="0" destOrd="0" presId="urn:microsoft.com/office/officeart/2005/8/layout/hierarchy3"/>
    <dgm:cxn modelId="{7E12AE0D-522E-EC46-8FDB-540AF41BDCF9}" type="presOf" srcId="{CD9F43A6-8F78-DE4D-81D1-D3D5306C0AA4}" destId="{B14971FA-8479-2647-910A-061B76333F31}" srcOrd="0" destOrd="0" presId="urn:microsoft.com/office/officeart/2005/8/layout/hierarchy3"/>
    <dgm:cxn modelId="{3A7D9C13-BA99-1341-9604-4229A9B67365}" srcId="{83FDFBF5-3880-C34C-9F88-A7C7CC3A1EA2}" destId="{E048C408-DFFD-2A4B-AD60-BFF6809DC491}" srcOrd="1" destOrd="0" parTransId="{CFA64A71-BA9D-FE4B-894D-C3B37A8B6732}" sibTransId="{F7F02BF2-BF8D-0A4E-A604-49385B5ECEA1}"/>
    <dgm:cxn modelId="{01896116-DAA8-3949-A83D-F92C3EFC0C8F}" type="presOf" srcId="{D693665D-1E30-4E45-8191-F5B6A3F4DF1E}" destId="{161E2220-9CCC-FC4A-8FB2-63C6E682F6DF}" srcOrd="0" destOrd="0" presId="urn:microsoft.com/office/officeart/2005/8/layout/hierarchy3"/>
    <dgm:cxn modelId="{40105A16-B8B1-AD44-99B7-8191C901FA57}" srcId="{14DA0B7A-897A-7C41-9759-93C7D9C8F0EA}" destId="{D2DC4467-C2C2-8A4E-960B-CB89039407FD}" srcOrd="0" destOrd="0" parTransId="{401C2EE8-FE3D-0245-95E9-232E1246F33E}" sibTransId="{0BE55F7B-756E-6142-BD65-272D8B129CD6}"/>
    <dgm:cxn modelId="{CF2A3B17-711A-ED41-8ECA-3798692E44B7}" type="presOf" srcId="{1A43F41A-952A-8D4A-96DD-5994AED170B7}" destId="{EC7CC600-EAD4-7449-B71C-71141DC3A933}" srcOrd="0" destOrd="0" presId="urn:microsoft.com/office/officeart/2005/8/layout/hierarchy3"/>
    <dgm:cxn modelId="{4C77EC17-18E6-3D42-8379-B519A28EC777}" type="presOf" srcId="{C064CADF-FE71-0043-B9BC-E5BAAFA28C01}" destId="{6383FD56-CDCD-2945-B041-9B16034E0889}" srcOrd="0" destOrd="0" presId="urn:microsoft.com/office/officeart/2005/8/layout/hierarchy3"/>
    <dgm:cxn modelId="{33ACCC18-5A2F-F04F-9F3E-FC1215629D5A}" srcId="{E45252E5-FABB-8C40-806C-3AFF4E75FCE9}" destId="{3A8FFC6B-BF3F-0D49-A951-6E7772E893A0}" srcOrd="3" destOrd="0" parTransId="{08E4D433-C82D-6B4D-8DB3-EA333B4E418F}" sibTransId="{A7370645-CD41-2C49-8423-6BDAF87D87E7}"/>
    <dgm:cxn modelId="{5921D81E-C961-5041-A1DF-0F2C4F7553B6}" srcId="{6D9B0BE5-F451-AE44-9B29-AE62DFDE9BAD}" destId="{A93A9E4C-E7D0-FD43-9FB4-8DBFA8D52D70}" srcOrd="0" destOrd="0" parTransId="{2A68335A-5EE8-7946-BC00-E2667CBF3CE7}" sibTransId="{9B94EF06-5AEB-7C4E-95D8-9DB2D3C38CA9}"/>
    <dgm:cxn modelId="{26D1301F-3E25-9446-8E54-71B0C9DB513A}" type="presOf" srcId="{93922F64-2A70-7F4F-A483-8B65EADE1C56}" destId="{5829D355-4F9B-754E-8384-23AF734D3DC1}" srcOrd="0" destOrd="0" presId="urn:microsoft.com/office/officeart/2005/8/layout/hierarchy3"/>
    <dgm:cxn modelId="{3B755B28-7371-B34D-A565-29324668190F}" srcId="{E45252E5-FABB-8C40-806C-3AFF4E75FCE9}" destId="{206D0424-0AA5-1944-8E06-3FA46661E66D}" srcOrd="2" destOrd="0" parTransId="{B91791F1-5F93-AB4C-84CF-846BC1547244}" sibTransId="{698EEEE6-E658-E842-A101-A179B9FDF06D}"/>
    <dgm:cxn modelId="{7480D72E-87E8-AA48-BC7C-7F79AAF4E0A7}" srcId="{A93A9E4C-E7D0-FD43-9FB4-8DBFA8D52D70}" destId="{5795DD57-74CB-CB48-8D1D-45DA4D8935E8}" srcOrd="2" destOrd="0" parTransId="{6AFE073A-80E7-F748-9A7F-B9B70E9AE933}" sibTransId="{EECE744A-6A32-6E4F-BC5F-ABDF090D22B7}"/>
    <dgm:cxn modelId="{1D7A922F-C6D5-7645-9B9F-21AF5EB2B4BD}" srcId="{A93A9E4C-E7D0-FD43-9FB4-8DBFA8D52D70}" destId="{9C8C6F10-0861-024F-B313-D860E27B22FC}" srcOrd="4" destOrd="0" parTransId="{F59CACE4-682F-7A4D-92F2-3B1FBBF01AE8}" sibTransId="{A5B2F138-9715-E242-8CC8-A027957736BF}"/>
    <dgm:cxn modelId="{422E7F31-46EA-1842-938B-AF95BDFD3EB1}" type="presOf" srcId="{E45252E5-FABB-8C40-806C-3AFF4E75FCE9}" destId="{242389FB-B41A-B840-98D8-A9B4FB6A89AF}" srcOrd="1" destOrd="0" presId="urn:microsoft.com/office/officeart/2005/8/layout/hierarchy3"/>
    <dgm:cxn modelId="{C1A03934-86C5-6940-9153-14D4E150D996}" type="presOf" srcId="{3A8FFC6B-BF3F-0D49-A951-6E7772E893A0}" destId="{BEF1671F-3DF5-494B-AE25-2434EBDA1A68}" srcOrd="0" destOrd="0" presId="urn:microsoft.com/office/officeart/2005/8/layout/hierarchy3"/>
    <dgm:cxn modelId="{1BC6F63C-4AC8-1642-A05C-26E8EBB61712}" type="presOf" srcId="{FC20E98D-423C-7D44-9229-F20C9684638E}" destId="{3F514349-0FED-5C41-B786-EE797FD6A6ED}" srcOrd="0" destOrd="0" presId="urn:microsoft.com/office/officeart/2005/8/layout/hierarchy3"/>
    <dgm:cxn modelId="{1FA17740-8D53-FD48-B482-BDF3744E9C54}" type="presOf" srcId="{83FDFBF5-3880-C34C-9F88-A7C7CC3A1EA2}" destId="{2FA8F23F-35CD-C54A-8783-629A03772AEC}" srcOrd="0" destOrd="0" presId="urn:microsoft.com/office/officeart/2005/8/layout/hierarchy3"/>
    <dgm:cxn modelId="{FC1D885C-3BE2-ED45-B4C5-D641E41604DD}" type="presOf" srcId="{206D0424-0AA5-1944-8E06-3FA46661E66D}" destId="{0F6014B9-FF15-0546-AA04-F591028B596A}" srcOrd="0" destOrd="0" presId="urn:microsoft.com/office/officeart/2005/8/layout/hierarchy3"/>
    <dgm:cxn modelId="{31833D60-5A4F-B342-8B7D-1E719B031821}" type="presOf" srcId="{14DA0B7A-897A-7C41-9759-93C7D9C8F0EA}" destId="{2D2AA0B9-FFE1-3F4D-A350-15F910F3BD22}" srcOrd="1" destOrd="0" presId="urn:microsoft.com/office/officeart/2005/8/layout/hierarchy3"/>
    <dgm:cxn modelId="{17B64441-6710-BD4B-8BCA-12D6D8C2AD54}" srcId="{E45252E5-FABB-8C40-806C-3AFF4E75FCE9}" destId="{1A43F41A-952A-8D4A-96DD-5994AED170B7}" srcOrd="0" destOrd="0" parTransId="{CA5D1486-C56C-594C-905E-13012BA57F9F}" sibTransId="{DB309734-0602-A845-82B0-D06B8580D2C4}"/>
    <dgm:cxn modelId="{D0BF5D62-171E-A64E-82C8-F25983BB92BD}" type="presOf" srcId="{CFA64A71-BA9D-FE4B-894D-C3B37A8B6732}" destId="{3FB2E1DB-7F77-A940-A44D-A2EBF02F6AA8}" srcOrd="0" destOrd="0" presId="urn:microsoft.com/office/officeart/2005/8/layout/hierarchy3"/>
    <dgm:cxn modelId="{DD057864-9C5A-E047-A536-26334F798C70}" type="presOf" srcId="{A1220BA8-1B0D-E947-ACEC-A4409A4A2808}" destId="{59399A21-1752-9641-909F-1DF60D99EC93}" srcOrd="0" destOrd="0" presId="urn:microsoft.com/office/officeart/2005/8/layout/hierarchy3"/>
    <dgm:cxn modelId="{1E507A44-E85E-BD44-8AE9-96B0AC8C1A42}" type="presOf" srcId="{CA5D1486-C56C-594C-905E-13012BA57F9F}" destId="{BA439008-8DC7-6F4F-BB51-CC1D048D6E8D}" srcOrd="0" destOrd="0" presId="urn:microsoft.com/office/officeart/2005/8/layout/hierarchy3"/>
    <dgm:cxn modelId="{1F00DB48-0FCB-5847-A613-168E30AD5D52}" srcId="{14DA0B7A-897A-7C41-9759-93C7D9C8F0EA}" destId="{4BB958FD-9F3E-B344-BCB4-42AC09735FE8}" srcOrd="2" destOrd="0" parTransId="{D693665D-1E30-4E45-8191-F5B6A3F4DF1E}" sibTransId="{765EEAB1-1780-D844-ACD9-03EC80212351}"/>
    <dgm:cxn modelId="{304BDA6B-E80F-1344-BCDA-447D5B7EB33F}" type="presOf" srcId="{09FD0A1D-78DE-F64D-BE33-9B33758A8E1E}" destId="{A766C9EF-D2E9-D042-A8CB-171425FDB28D}" srcOrd="0" destOrd="0" presId="urn:microsoft.com/office/officeart/2005/8/layout/hierarchy3"/>
    <dgm:cxn modelId="{764B904C-0C90-1D47-B00A-93158B315DC3}" type="presOf" srcId="{EE0E0967-FB18-3843-A445-F9E668C5B807}" destId="{D5ADA3D3-42F7-7E46-8A26-E9B8F121314A}" srcOrd="0" destOrd="0" presId="urn:microsoft.com/office/officeart/2005/8/layout/hierarchy3"/>
    <dgm:cxn modelId="{90856C6D-59AF-7845-B43D-5B779ED3970C}" type="presOf" srcId="{2891CC72-C4C8-4E42-8F5E-A6C8C6D002B0}" destId="{57251F56-0827-F642-9213-6BAF8C24320C}" srcOrd="0" destOrd="0" presId="urn:microsoft.com/office/officeart/2005/8/layout/hierarchy3"/>
    <dgm:cxn modelId="{2E115C4E-A52D-6E41-B32B-64B74BE1FB86}" type="presOf" srcId="{42BF2C42-76AF-0C47-87F9-E812DD474A24}" destId="{0D6F72C5-DE37-E941-AD44-5970467C2A96}" srcOrd="0" destOrd="0" presId="urn:microsoft.com/office/officeart/2005/8/layout/hierarchy3"/>
    <dgm:cxn modelId="{92CD9F4E-7FF0-3044-8C4B-349A53ADB399}" type="presOf" srcId="{980B70E5-30DC-1C47-A775-4EFAE7B3F939}" destId="{9BB28569-8A99-3547-82B9-E7AE7B791E8E}" srcOrd="0" destOrd="0" presId="urn:microsoft.com/office/officeart/2005/8/layout/hierarchy3"/>
    <dgm:cxn modelId="{8CF87370-DE7F-9646-9A2B-61A5AE050003}" type="presOf" srcId="{6D9B0BE5-F451-AE44-9B29-AE62DFDE9BAD}" destId="{16F309D4-BE1B-8D44-A2FF-C8BCEAD0DD2A}" srcOrd="0" destOrd="0" presId="urn:microsoft.com/office/officeart/2005/8/layout/hierarchy3"/>
    <dgm:cxn modelId="{8FC8EF50-D043-FC49-BE59-70DF4549758F}" type="presOf" srcId="{AECD768C-62D5-FB40-9404-3DEB1DC0CCFC}" destId="{051EB7AD-8953-834A-8746-11F852A289E6}" srcOrd="0" destOrd="0" presId="urn:microsoft.com/office/officeart/2005/8/layout/hierarchy3"/>
    <dgm:cxn modelId="{6115F670-DD6A-C74D-9557-773A346C44E4}" type="presOf" srcId="{5C410414-BDEA-A640-9DBE-2BE4F41CC57A}" destId="{169F2B92-7101-9A4A-83D1-C2CF5AF28505}" srcOrd="0" destOrd="0" presId="urn:microsoft.com/office/officeart/2005/8/layout/hierarchy3"/>
    <dgm:cxn modelId="{4A10DA72-FCC5-FC4A-AF9C-F3998FD472BA}" type="presOf" srcId="{0CD26FE5-FCFA-4E44-BF9A-A90E33BD5F9A}" destId="{0802B708-C3AC-C64A-B8CF-25D102BF4DB4}" srcOrd="0" destOrd="0" presId="urn:microsoft.com/office/officeart/2005/8/layout/hierarchy3"/>
    <dgm:cxn modelId="{79208053-7846-E842-AAEA-CC0A69602FC3}" srcId="{83FDFBF5-3880-C34C-9F88-A7C7CC3A1EA2}" destId="{C064CADF-FE71-0043-B9BC-E5BAAFA28C01}" srcOrd="0" destOrd="0" parTransId="{8D01A9D7-1A6D-E144-B16A-654748C59E4C}" sibTransId="{24D9B3E1-21EF-B34D-9245-1F0C4390EE86}"/>
    <dgm:cxn modelId="{842A8A73-44ED-D04D-A21E-5C6A9F8705D8}" type="presOf" srcId="{AE805E67-4EA8-E44E-977C-CE7A6905D586}" destId="{F22BDB45-6DFC-C945-B9D7-19948CF5FF0A}" srcOrd="0" destOrd="0" presId="urn:microsoft.com/office/officeart/2005/8/layout/hierarchy3"/>
    <dgm:cxn modelId="{E804DC53-26CC-F14E-ABF9-23DEE0643A2C}" type="presOf" srcId="{9C97E3CD-9DB7-8547-A1AF-3A54690762ED}" destId="{CE2BE487-796D-8A42-81EB-73B1FF7FA130}" srcOrd="0" destOrd="0" presId="urn:microsoft.com/office/officeart/2005/8/layout/hierarchy3"/>
    <dgm:cxn modelId="{69F92576-9309-E745-9A21-8F919710357A}" type="presOf" srcId="{6AFE073A-80E7-F748-9A7F-B9B70E9AE933}" destId="{0D5AF32C-FEAC-B940-AEF9-113FD4C540C5}" srcOrd="0" destOrd="0" presId="urn:microsoft.com/office/officeart/2005/8/layout/hierarchy3"/>
    <dgm:cxn modelId="{DB4EC656-ABC6-6D4E-B554-AE1B78AAA0C0}" type="presOf" srcId="{A93A9E4C-E7D0-FD43-9FB4-8DBFA8D52D70}" destId="{4D8ABC0C-6D7F-824A-921B-618D8A3A8EB1}" srcOrd="0" destOrd="0" presId="urn:microsoft.com/office/officeart/2005/8/layout/hierarchy3"/>
    <dgm:cxn modelId="{0BA8BA77-5553-7048-B6CE-F7CC620E0277}" type="presOf" srcId="{A93A9E4C-E7D0-FD43-9FB4-8DBFA8D52D70}" destId="{2909E014-6738-864A-AF59-65F10CC999ED}" srcOrd="1" destOrd="0" presId="urn:microsoft.com/office/officeart/2005/8/layout/hierarchy3"/>
    <dgm:cxn modelId="{19F2C278-3ED6-624B-846E-1D24306497A7}" type="presOf" srcId="{800EA581-401F-E443-AF44-372A0410D0D3}" destId="{CD3B654E-F569-E741-95FD-BAEB3D862512}" srcOrd="0" destOrd="0" presId="urn:microsoft.com/office/officeart/2005/8/layout/hierarchy3"/>
    <dgm:cxn modelId="{2775CB78-E82B-E549-8A3F-819F5E453A5C}" type="presOf" srcId="{E45252E5-FABB-8C40-806C-3AFF4E75FCE9}" destId="{587C74AE-3394-DC49-8CB1-76A0BCD058A4}" srcOrd="0" destOrd="0" presId="urn:microsoft.com/office/officeart/2005/8/layout/hierarchy3"/>
    <dgm:cxn modelId="{DE60B85A-F816-F548-8517-AEBBF49030C1}" srcId="{83FDFBF5-3880-C34C-9F88-A7C7CC3A1EA2}" destId="{800EA581-401F-E443-AF44-372A0410D0D3}" srcOrd="2" destOrd="0" parTransId="{3A825C8F-5C22-DC4C-9096-7603543CCA2E}" sibTransId="{65ADC1C0-435E-EB48-80C5-F08981257D68}"/>
    <dgm:cxn modelId="{64AB747B-70D3-BB4D-B4F4-9B27A1465802}" srcId="{6D9B0BE5-F451-AE44-9B29-AE62DFDE9BAD}" destId="{E45252E5-FABB-8C40-806C-3AFF4E75FCE9}" srcOrd="1" destOrd="0" parTransId="{EFF56ECC-82CF-9E48-8A6B-9F7BE1AD3166}" sibTransId="{52E1C086-FA7D-2241-9528-6BB9F16171F3}"/>
    <dgm:cxn modelId="{BDEB8E7B-74D9-3F40-AB9C-CBBECFEC1C92}" type="presOf" srcId="{08E4D433-C82D-6B4D-8DB3-EA333B4E418F}" destId="{BEB443A0-BDD9-EC4C-9347-4016B3AFF79C}" srcOrd="0" destOrd="0" presId="urn:microsoft.com/office/officeart/2005/8/layout/hierarchy3"/>
    <dgm:cxn modelId="{DCCAE682-29A8-0849-9091-0A0A80156B79}" srcId="{AE805E67-4EA8-E44E-977C-CE7A6905D586}" destId="{C2697DC4-583D-BB44-81DC-86E313B73653}" srcOrd="1" destOrd="0" parTransId="{2891CC72-C4C8-4E42-8F5E-A6C8C6D002B0}" sibTransId="{5EAE4E19-5AB0-564F-8904-3BC7AAA9AD5C}"/>
    <dgm:cxn modelId="{F0593E88-DE20-114A-A748-1E4C4F5E9767}" srcId="{6D9B0BE5-F451-AE44-9B29-AE62DFDE9BAD}" destId="{AE805E67-4EA8-E44E-977C-CE7A6905D586}" srcOrd="4" destOrd="0" parTransId="{F62ACB79-F0B7-564F-A02E-275C0C646988}" sibTransId="{20A19F98-901A-124B-B679-5A49740AA061}"/>
    <dgm:cxn modelId="{E0F4008E-2A0A-B349-92CF-45D0737555E8}" type="presOf" srcId="{E048C408-DFFD-2A4B-AD60-BFF6809DC491}" destId="{84AF0035-BFE5-2044-A7EB-39D21B6B4C23}" srcOrd="0" destOrd="0" presId="urn:microsoft.com/office/officeart/2005/8/layout/hierarchy3"/>
    <dgm:cxn modelId="{34CBF193-134B-6B43-B30A-817625E37737}" type="presOf" srcId="{8D01A9D7-1A6D-E144-B16A-654748C59E4C}" destId="{9E84B493-25F5-DF4D-8ECA-FEBA7BDB38A6}" srcOrd="0" destOrd="0" presId="urn:microsoft.com/office/officeart/2005/8/layout/hierarchy3"/>
    <dgm:cxn modelId="{B6C94F95-56C7-5541-96EF-5D3833EC2A4D}" srcId="{14DA0B7A-897A-7C41-9759-93C7D9C8F0EA}" destId="{CD9F43A6-8F78-DE4D-81D1-D3D5306C0AA4}" srcOrd="3" destOrd="0" parTransId="{25AF418F-5566-C34D-9D1C-F75B9AAB8A1E}" sibTransId="{5FF41155-7CC2-554A-BBF3-93BD3CA9CC63}"/>
    <dgm:cxn modelId="{EF9362A2-405C-7740-82F7-8CFA0597F37F}" type="presOf" srcId="{25AF418F-5566-C34D-9D1C-F75B9AAB8A1E}" destId="{62372CAD-8CEA-5249-B725-06E12ECDABED}" srcOrd="0" destOrd="0" presId="urn:microsoft.com/office/officeart/2005/8/layout/hierarchy3"/>
    <dgm:cxn modelId="{84022DA8-60A0-8040-BA6E-4D9603A0ABCD}" type="presOf" srcId="{9C8C6F10-0861-024F-B313-D860E27B22FC}" destId="{4A6CB5A3-1BA1-7E4B-8C56-627C34B6ECD3}" srcOrd="0" destOrd="0" presId="urn:microsoft.com/office/officeart/2005/8/layout/hierarchy3"/>
    <dgm:cxn modelId="{FB0CF7AB-B4A5-1748-B93F-F032F0819793}" srcId="{A93A9E4C-E7D0-FD43-9FB4-8DBFA8D52D70}" destId="{42BF2C42-76AF-0C47-87F9-E812DD474A24}" srcOrd="0" destOrd="0" parTransId="{FC20E98D-423C-7D44-9229-F20C9684638E}" sibTransId="{8AB44F8F-7C12-D34C-A8C0-B88B856282B8}"/>
    <dgm:cxn modelId="{0A54F1AF-3960-3D49-A5E6-4BA74566915F}" type="presOf" srcId="{D2DC4467-C2C2-8A4E-960B-CB89039407FD}" destId="{357FEADB-5D8F-E343-88F9-3F0C634B3357}" srcOrd="0" destOrd="0" presId="urn:microsoft.com/office/officeart/2005/8/layout/hierarchy3"/>
    <dgm:cxn modelId="{84993AB0-7075-DE4A-A5B4-9CAF94740A6F}" srcId="{6D9B0BE5-F451-AE44-9B29-AE62DFDE9BAD}" destId="{14DA0B7A-897A-7C41-9759-93C7D9C8F0EA}" srcOrd="2" destOrd="0" parTransId="{D2B86BAF-5275-4D4D-9C82-E31191138425}" sibTransId="{E0F68FFC-15D7-CF4B-8542-EE341028D7F9}"/>
    <dgm:cxn modelId="{766315B9-456E-A14A-96C1-A2609D6920F7}" type="presOf" srcId="{AE805E67-4EA8-E44E-977C-CE7A6905D586}" destId="{31ED4CE2-5851-2844-95C2-49FB992474CB}" srcOrd="1" destOrd="0" presId="urn:microsoft.com/office/officeart/2005/8/layout/hierarchy3"/>
    <dgm:cxn modelId="{6EC459BA-D71B-7040-AEDD-DB606535CBAA}" type="presOf" srcId="{1E59CAD3-9F6E-FD4F-BAF7-EF4CC902E143}" destId="{D6C47007-297A-9149-B858-94EACBFC3B98}" srcOrd="0" destOrd="0" presId="urn:microsoft.com/office/officeart/2005/8/layout/hierarchy3"/>
    <dgm:cxn modelId="{FEA9FBBB-6DAF-E94D-A4C7-F9E9D754E30E}" srcId="{A93A9E4C-E7D0-FD43-9FB4-8DBFA8D52D70}" destId="{93922F64-2A70-7F4F-A483-8B65EADE1C56}" srcOrd="1" destOrd="0" parTransId="{EE0E0967-FB18-3843-A445-F9E668C5B807}" sibTransId="{CE6E5C10-3507-BA4C-AF7F-50D58E676809}"/>
    <dgm:cxn modelId="{220697BC-ECB0-6F40-A373-FDB1B18513D5}" type="presOf" srcId="{C2697DC4-583D-BB44-81DC-86E313B73653}" destId="{18EDD8C2-B42A-184F-9F26-A856FFE0B12C}" srcOrd="0" destOrd="0" presId="urn:microsoft.com/office/officeart/2005/8/layout/hierarchy3"/>
    <dgm:cxn modelId="{20B2D8C2-CC12-E14E-A137-A971307D7851}" type="presOf" srcId="{299921CB-0981-C243-BCFB-6CDAF30964CE}" destId="{E10A6EA2-0E21-A04F-8004-BFC9A0538066}" srcOrd="0" destOrd="0" presId="urn:microsoft.com/office/officeart/2005/8/layout/hierarchy3"/>
    <dgm:cxn modelId="{E19B29CC-4B47-A248-A933-348EF617BFEA}" type="presOf" srcId="{14DA0B7A-897A-7C41-9759-93C7D9C8F0EA}" destId="{7634BA55-D044-B248-8F77-5614E76D7120}" srcOrd="0" destOrd="0" presId="urn:microsoft.com/office/officeart/2005/8/layout/hierarchy3"/>
    <dgm:cxn modelId="{FD45B4CC-1061-D64E-B79A-50AD45A594E3}" type="presOf" srcId="{C7CD03D8-0BB1-624B-B92E-3CA5BA861352}" destId="{E6601567-ED76-D74F-A58C-75189A8C23BF}" srcOrd="0" destOrd="0" presId="urn:microsoft.com/office/officeart/2005/8/layout/hierarchy3"/>
    <dgm:cxn modelId="{DBFDD6D2-463A-244E-921C-BC50EE2E21EB}" srcId="{6D9B0BE5-F451-AE44-9B29-AE62DFDE9BAD}" destId="{83FDFBF5-3880-C34C-9F88-A7C7CC3A1EA2}" srcOrd="3" destOrd="0" parTransId="{64C92EAF-A4BF-6240-8D33-6CF3A1E0E8EA}" sibTransId="{1A6786D2-A08D-E049-AFB2-E72E5DCEFF2F}"/>
    <dgm:cxn modelId="{CC259FDC-0070-7846-BA7C-099DAD703AA8}" type="presOf" srcId="{5795DD57-74CB-CB48-8D1D-45DA4D8935E8}" destId="{710A9C0B-B81D-0947-8B02-F4620CE15477}" srcOrd="0" destOrd="0" presId="urn:microsoft.com/office/officeart/2005/8/layout/hierarchy3"/>
    <dgm:cxn modelId="{734892DE-FDEE-7B41-B2D4-8FEC6A9B44CA}" type="presOf" srcId="{4BB958FD-9F3E-B344-BCB4-42AC09735FE8}" destId="{4E24FB6B-4ED1-9B47-AF93-F82344D22B18}" srcOrd="0" destOrd="0" presId="urn:microsoft.com/office/officeart/2005/8/layout/hierarchy3"/>
    <dgm:cxn modelId="{9F38D6DF-A223-6049-A909-B12B6257A626}" type="presOf" srcId="{83FDFBF5-3880-C34C-9F88-A7C7CC3A1EA2}" destId="{40C13E8D-350F-9F47-8B40-A10BE8257C70}" srcOrd="1" destOrd="0" presId="urn:microsoft.com/office/officeart/2005/8/layout/hierarchy3"/>
    <dgm:cxn modelId="{D87A6AE3-457A-7F49-BC7C-2DA8C0DD5F83}" type="presOf" srcId="{C17C17C7-3F20-054E-AB0E-50F06C686A2A}" destId="{4775D44D-645E-E249-ADDE-D82E8C608398}" srcOrd="0" destOrd="0" presId="urn:microsoft.com/office/officeart/2005/8/layout/hierarchy3"/>
    <dgm:cxn modelId="{D65BBDE4-4619-9C49-A3E3-CB9EDAD0E371}" srcId="{14DA0B7A-897A-7C41-9759-93C7D9C8F0EA}" destId="{9C97E3CD-9DB7-8547-A1AF-3A54690762ED}" srcOrd="1" destOrd="0" parTransId="{6DC3CD95-3A31-3D40-AA3D-5BB5D36AE273}" sibTransId="{DF5AEB34-CC70-9749-8E94-6A2405799434}"/>
    <dgm:cxn modelId="{9AC4EEE6-314F-4345-8177-4E31B3AF23D6}" srcId="{A93A9E4C-E7D0-FD43-9FB4-8DBFA8D52D70}" destId="{5C410414-BDEA-A640-9DBE-2BE4F41CC57A}" srcOrd="3" destOrd="0" parTransId="{A1220BA8-1B0D-E947-ACEC-A4409A4A2808}" sibTransId="{73A0378E-2B63-B546-A1F3-E2DC0D0C8CC6}"/>
    <dgm:cxn modelId="{2C19F8E8-0D8F-134E-A275-7295F0D01BF9}" type="presOf" srcId="{3A825C8F-5C22-DC4C-9096-7603543CCA2E}" destId="{6544270F-F7B6-E049-B33D-1DD08D2C8DA4}" srcOrd="0" destOrd="0" presId="urn:microsoft.com/office/officeart/2005/8/layout/hierarchy3"/>
    <dgm:cxn modelId="{28C1EFEC-847E-D94B-80CB-1F03F9E8CDE9}" type="presOf" srcId="{6DC3CD95-3A31-3D40-AA3D-5BB5D36AE273}" destId="{616DEDF7-72CD-4B41-826B-4210486F480B}" srcOrd="0" destOrd="0" presId="urn:microsoft.com/office/officeart/2005/8/layout/hierarchy3"/>
    <dgm:cxn modelId="{AD9328ED-D8F1-7442-BACD-CAD6807A04BD}" srcId="{E45252E5-FABB-8C40-806C-3AFF4E75FCE9}" destId="{0CD26FE5-FCFA-4E44-BF9A-A90E33BD5F9A}" srcOrd="1" destOrd="0" parTransId="{299921CB-0981-C243-BCFB-6CDAF30964CE}" sibTransId="{70716163-2DCF-E44A-B350-F696C702CFC1}"/>
    <dgm:cxn modelId="{33DB90F8-2E29-F641-B617-05D1BC714D2C}" type="presOf" srcId="{B91791F1-5F93-AB4C-84CF-846BC1547244}" destId="{BF408421-FF0A-F54E-B93E-57AA7AC549C4}" srcOrd="0" destOrd="0" presId="urn:microsoft.com/office/officeart/2005/8/layout/hierarchy3"/>
    <dgm:cxn modelId="{43A62CFB-DBB4-D84F-A6CA-4777F4553E76}" srcId="{AE805E67-4EA8-E44E-977C-CE7A6905D586}" destId="{1E59CAD3-9F6E-FD4F-BAF7-EF4CC902E143}" srcOrd="0" destOrd="0" parTransId="{980B70E5-30DC-1C47-A775-4EFAE7B3F939}" sibTransId="{DBDD853A-F9F1-8F4C-928D-3D6FA5A0F10C}"/>
    <dgm:cxn modelId="{D3220C37-E2C3-4C4E-AA93-15FD89E2472B}" type="presParOf" srcId="{16F309D4-BE1B-8D44-A2FF-C8BCEAD0DD2A}" destId="{3DDC912D-8E1C-FC40-8BE1-FC7633F2A656}" srcOrd="0" destOrd="0" presId="urn:microsoft.com/office/officeart/2005/8/layout/hierarchy3"/>
    <dgm:cxn modelId="{9ADB68FA-A7F9-3745-BB45-01339E8779E8}" type="presParOf" srcId="{3DDC912D-8E1C-FC40-8BE1-FC7633F2A656}" destId="{D2840C6D-7CF9-004A-B564-C355E09D9DF8}" srcOrd="0" destOrd="0" presId="urn:microsoft.com/office/officeart/2005/8/layout/hierarchy3"/>
    <dgm:cxn modelId="{0C746B87-24E9-9F48-9FE9-38C450DB1E52}" type="presParOf" srcId="{D2840C6D-7CF9-004A-B564-C355E09D9DF8}" destId="{4D8ABC0C-6D7F-824A-921B-618D8A3A8EB1}" srcOrd="0" destOrd="0" presId="urn:microsoft.com/office/officeart/2005/8/layout/hierarchy3"/>
    <dgm:cxn modelId="{8E24946D-DB69-B14A-8BFA-9E05F588A772}" type="presParOf" srcId="{D2840C6D-7CF9-004A-B564-C355E09D9DF8}" destId="{2909E014-6738-864A-AF59-65F10CC999ED}" srcOrd="1" destOrd="0" presId="urn:microsoft.com/office/officeart/2005/8/layout/hierarchy3"/>
    <dgm:cxn modelId="{A682594D-48BA-FE45-AB92-1ADA5EB6DDD1}" type="presParOf" srcId="{3DDC912D-8E1C-FC40-8BE1-FC7633F2A656}" destId="{12C4B6BF-E8D8-AE43-A701-F7E2A777D60C}" srcOrd="1" destOrd="0" presId="urn:microsoft.com/office/officeart/2005/8/layout/hierarchy3"/>
    <dgm:cxn modelId="{BE1BDB44-1774-1F4C-A113-0638E30C683F}" type="presParOf" srcId="{12C4B6BF-E8D8-AE43-A701-F7E2A777D60C}" destId="{3F514349-0FED-5C41-B786-EE797FD6A6ED}" srcOrd="0" destOrd="0" presId="urn:microsoft.com/office/officeart/2005/8/layout/hierarchy3"/>
    <dgm:cxn modelId="{5DA1E458-49CA-3546-92BB-95E0C247C6F0}" type="presParOf" srcId="{12C4B6BF-E8D8-AE43-A701-F7E2A777D60C}" destId="{0D6F72C5-DE37-E941-AD44-5970467C2A96}" srcOrd="1" destOrd="0" presId="urn:microsoft.com/office/officeart/2005/8/layout/hierarchy3"/>
    <dgm:cxn modelId="{41D5C485-127D-C84D-B7BA-2DC5A4BF37ED}" type="presParOf" srcId="{12C4B6BF-E8D8-AE43-A701-F7E2A777D60C}" destId="{D5ADA3D3-42F7-7E46-8A26-E9B8F121314A}" srcOrd="2" destOrd="0" presId="urn:microsoft.com/office/officeart/2005/8/layout/hierarchy3"/>
    <dgm:cxn modelId="{5DFC6AB2-0B61-9548-B1A7-9675716A15BF}" type="presParOf" srcId="{12C4B6BF-E8D8-AE43-A701-F7E2A777D60C}" destId="{5829D355-4F9B-754E-8384-23AF734D3DC1}" srcOrd="3" destOrd="0" presId="urn:microsoft.com/office/officeart/2005/8/layout/hierarchy3"/>
    <dgm:cxn modelId="{87FE63FD-17F9-9249-9467-482338F05307}" type="presParOf" srcId="{12C4B6BF-E8D8-AE43-A701-F7E2A777D60C}" destId="{0D5AF32C-FEAC-B940-AEF9-113FD4C540C5}" srcOrd="4" destOrd="0" presId="urn:microsoft.com/office/officeart/2005/8/layout/hierarchy3"/>
    <dgm:cxn modelId="{4DC7672A-EFC1-7848-B22D-BE4E1094284C}" type="presParOf" srcId="{12C4B6BF-E8D8-AE43-A701-F7E2A777D60C}" destId="{710A9C0B-B81D-0947-8B02-F4620CE15477}" srcOrd="5" destOrd="0" presId="urn:microsoft.com/office/officeart/2005/8/layout/hierarchy3"/>
    <dgm:cxn modelId="{9A066AA3-89D8-8748-A2B4-5946422EDA0C}" type="presParOf" srcId="{12C4B6BF-E8D8-AE43-A701-F7E2A777D60C}" destId="{59399A21-1752-9641-909F-1DF60D99EC93}" srcOrd="6" destOrd="0" presId="urn:microsoft.com/office/officeart/2005/8/layout/hierarchy3"/>
    <dgm:cxn modelId="{2738DD42-F194-5A4F-936B-533CAFAF83BC}" type="presParOf" srcId="{12C4B6BF-E8D8-AE43-A701-F7E2A777D60C}" destId="{169F2B92-7101-9A4A-83D1-C2CF5AF28505}" srcOrd="7" destOrd="0" presId="urn:microsoft.com/office/officeart/2005/8/layout/hierarchy3"/>
    <dgm:cxn modelId="{C69B2272-8F9D-7948-A507-20A4E66FF41A}" type="presParOf" srcId="{12C4B6BF-E8D8-AE43-A701-F7E2A777D60C}" destId="{C1B131E3-501B-D54B-87C3-86BF06BB35E8}" srcOrd="8" destOrd="0" presId="urn:microsoft.com/office/officeart/2005/8/layout/hierarchy3"/>
    <dgm:cxn modelId="{80F70ADF-9E58-C745-869A-3896F51287F4}" type="presParOf" srcId="{12C4B6BF-E8D8-AE43-A701-F7E2A777D60C}" destId="{4A6CB5A3-1BA1-7E4B-8C56-627C34B6ECD3}" srcOrd="9" destOrd="0" presId="urn:microsoft.com/office/officeart/2005/8/layout/hierarchy3"/>
    <dgm:cxn modelId="{0438BD61-4B84-934A-9DB0-642DF4911DA6}" type="presParOf" srcId="{16F309D4-BE1B-8D44-A2FF-C8BCEAD0DD2A}" destId="{A96934A9-523B-374E-8C2C-7909AAC40CA6}" srcOrd="1" destOrd="0" presId="urn:microsoft.com/office/officeart/2005/8/layout/hierarchy3"/>
    <dgm:cxn modelId="{318A45CF-77A6-8A44-9848-C3FE6924E68F}" type="presParOf" srcId="{A96934A9-523B-374E-8C2C-7909AAC40CA6}" destId="{F25E26AF-11C2-7749-8719-C27F23C8B04A}" srcOrd="0" destOrd="0" presId="urn:microsoft.com/office/officeart/2005/8/layout/hierarchy3"/>
    <dgm:cxn modelId="{BE96309C-0058-5149-8666-9986EF87B7F5}" type="presParOf" srcId="{F25E26AF-11C2-7749-8719-C27F23C8B04A}" destId="{587C74AE-3394-DC49-8CB1-76A0BCD058A4}" srcOrd="0" destOrd="0" presId="urn:microsoft.com/office/officeart/2005/8/layout/hierarchy3"/>
    <dgm:cxn modelId="{B663E2B9-AA74-E444-8871-CCAEE1D89271}" type="presParOf" srcId="{F25E26AF-11C2-7749-8719-C27F23C8B04A}" destId="{242389FB-B41A-B840-98D8-A9B4FB6A89AF}" srcOrd="1" destOrd="0" presId="urn:microsoft.com/office/officeart/2005/8/layout/hierarchy3"/>
    <dgm:cxn modelId="{8357E6FC-D3AF-9143-9E73-A49AEEF813A5}" type="presParOf" srcId="{A96934A9-523B-374E-8C2C-7909AAC40CA6}" destId="{DEA32703-74CA-6747-A77B-3BB9BDFE1AED}" srcOrd="1" destOrd="0" presId="urn:microsoft.com/office/officeart/2005/8/layout/hierarchy3"/>
    <dgm:cxn modelId="{5B163C4B-E44A-A744-838C-7F6F7C316DFB}" type="presParOf" srcId="{DEA32703-74CA-6747-A77B-3BB9BDFE1AED}" destId="{BA439008-8DC7-6F4F-BB51-CC1D048D6E8D}" srcOrd="0" destOrd="0" presId="urn:microsoft.com/office/officeart/2005/8/layout/hierarchy3"/>
    <dgm:cxn modelId="{7FAFD592-1B29-044E-871E-060CCA026EA0}" type="presParOf" srcId="{DEA32703-74CA-6747-A77B-3BB9BDFE1AED}" destId="{EC7CC600-EAD4-7449-B71C-71141DC3A933}" srcOrd="1" destOrd="0" presId="urn:microsoft.com/office/officeart/2005/8/layout/hierarchy3"/>
    <dgm:cxn modelId="{09680181-7C96-E44A-BB47-4663E6995F7F}" type="presParOf" srcId="{DEA32703-74CA-6747-A77B-3BB9BDFE1AED}" destId="{E10A6EA2-0E21-A04F-8004-BFC9A0538066}" srcOrd="2" destOrd="0" presId="urn:microsoft.com/office/officeart/2005/8/layout/hierarchy3"/>
    <dgm:cxn modelId="{360652E0-1D7D-5649-BA7B-0C94F98EB2ED}" type="presParOf" srcId="{DEA32703-74CA-6747-A77B-3BB9BDFE1AED}" destId="{0802B708-C3AC-C64A-B8CF-25D102BF4DB4}" srcOrd="3" destOrd="0" presId="urn:microsoft.com/office/officeart/2005/8/layout/hierarchy3"/>
    <dgm:cxn modelId="{BC8D17F1-F671-A544-BEE1-D30E350C256D}" type="presParOf" srcId="{DEA32703-74CA-6747-A77B-3BB9BDFE1AED}" destId="{BF408421-FF0A-F54E-B93E-57AA7AC549C4}" srcOrd="4" destOrd="0" presId="urn:microsoft.com/office/officeart/2005/8/layout/hierarchy3"/>
    <dgm:cxn modelId="{FAAD1787-2772-9D4D-91FA-35E8EFFD8BA0}" type="presParOf" srcId="{DEA32703-74CA-6747-A77B-3BB9BDFE1AED}" destId="{0F6014B9-FF15-0546-AA04-F591028B596A}" srcOrd="5" destOrd="0" presId="urn:microsoft.com/office/officeart/2005/8/layout/hierarchy3"/>
    <dgm:cxn modelId="{C9895782-1FC1-0841-8433-B96E103DDBE8}" type="presParOf" srcId="{DEA32703-74CA-6747-A77B-3BB9BDFE1AED}" destId="{BEB443A0-BDD9-EC4C-9347-4016B3AFF79C}" srcOrd="6" destOrd="0" presId="urn:microsoft.com/office/officeart/2005/8/layout/hierarchy3"/>
    <dgm:cxn modelId="{417C434E-8019-D141-A78D-6D2DCDAEAC1E}" type="presParOf" srcId="{DEA32703-74CA-6747-A77B-3BB9BDFE1AED}" destId="{BEF1671F-3DF5-494B-AE25-2434EBDA1A68}" srcOrd="7" destOrd="0" presId="urn:microsoft.com/office/officeart/2005/8/layout/hierarchy3"/>
    <dgm:cxn modelId="{64E4B8BB-22DF-0844-8857-39E7BA0A64E1}" type="presParOf" srcId="{16F309D4-BE1B-8D44-A2FF-C8BCEAD0DD2A}" destId="{CB370BBE-A024-9A49-910B-F9983E11F7A8}" srcOrd="2" destOrd="0" presId="urn:microsoft.com/office/officeart/2005/8/layout/hierarchy3"/>
    <dgm:cxn modelId="{9713776A-0EBC-B44A-9B36-D33034AE5165}" type="presParOf" srcId="{CB370BBE-A024-9A49-910B-F9983E11F7A8}" destId="{7B728FFD-E6EB-4248-AF75-26D3B09973CC}" srcOrd="0" destOrd="0" presId="urn:microsoft.com/office/officeart/2005/8/layout/hierarchy3"/>
    <dgm:cxn modelId="{102D2ABC-C2F4-C241-BC89-8A534C24BC98}" type="presParOf" srcId="{7B728FFD-E6EB-4248-AF75-26D3B09973CC}" destId="{7634BA55-D044-B248-8F77-5614E76D7120}" srcOrd="0" destOrd="0" presId="urn:microsoft.com/office/officeart/2005/8/layout/hierarchy3"/>
    <dgm:cxn modelId="{443F467F-8172-FE42-AC90-A620E285F998}" type="presParOf" srcId="{7B728FFD-E6EB-4248-AF75-26D3B09973CC}" destId="{2D2AA0B9-FFE1-3F4D-A350-15F910F3BD22}" srcOrd="1" destOrd="0" presId="urn:microsoft.com/office/officeart/2005/8/layout/hierarchy3"/>
    <dgm:cxn modelId="{DBAADA5B-2766-4940-8C5B-424959A0FBDF}" type="presParOf" srcId="{CB370BBE-A024-9A49-910B-F9983E11F7A8}" destId="{41D64697-6E39-5C4A-A402-EFBD9B357B22}" srcOrd="1" destOrd="0" presId="urn:microsoft.com/office/officeart/2005/8/layout/hierarchy3"/>
    <dgm:cxn modelId="{38E7E4E4-41C7-7E48-BDC6-CD7E89E2A976}" type="presParOf" srcId="{41D64697-6E39-5C4A-A402-EFBD9B357B22}" destId="{1AE04E00-72C6-3B42-81CF-52ED553CDC38}" srcOrd="0" destOrd="0" presId="urn:microsoft.com/office/officeart/2005/8/layout/hierarchy3"/>
    <dgm:cxn modelId="{0E544AA2-C03B-5240-BAA1-A6FB1F384CB2}" type="presParOf" srcId="{41D64697-6E39-5C4A-A402-EFBD9B357B22}" destId="{357FEADB-5D8F-E343-88F9-3F0C634B3357}" srcOrd="1" destOrd="0" presId="urn:microsoft.com/office/officeart/2005/8/layout/hierarchy3"/>
    <dgm:cxn modelId="{3A42D800-4FF6-F048-827F-BE5172577A64}" type="presParOf" srcId="{41D64697-6E39-5C4A-A402-EFBD9B357B22}" destId="{616DEDF7-72CD-4B41-826B-4210486F480B}" srcOrd="2" destOrd="0" presId="urn:microsoft.com/office/officeart/2005/8/layout/hierarchy3"/>
    <dgm:cxn modelId="{1B45B520-9144-A644-819A-C40EFFBB7C88}" type="presParOf" srcId="{41D64697-6E39-5C4A-A402-EFBD9B357B22}" destId="{CE2BE487-796D-8A42-81EB-73B1FF7FA130}" srcOrd="3" destOrd="0" presId="urn:microsoft.com/office/officeart/2005/8/layout/hierarchy3"/>
    <dgm:cxn modelId="{385BC9E9-33F1-8144-9664-B68E0F4C2C0F}" type="presParOf" srcId="{41D64697-6E39-5C4A-A402-EFBD9B357B22}" destId="{161E2220-9CCC-FC4A-8FB2-63C6E682F6DF}" srcOrd="4" destOrd="0" presId="urn:microsoft.com/office/officeart/2005/8/layout/hierarchy3"/>
    <dgm:cxn modelId="{7B61AB3F-972F-464E-830F-B6BD965822B3}" type="presParOf" srcId="{41D64697-6E39-5C4A-A402-EFBD9B357B22}" destId="{4E24FB6B-4ED1-9B47-AF93-F82344D22B18}" srcOrd="5" destOrd="0" presId="urn:microsoft.com/office/officeart/2005/8/layout/hierarchy3"/>
    <dgm:cxn modelId="{DC4E12F3-DE28-D544-8478-9F569D5D57F8}" type="presParOf" srcId="{41D64697-6E39-5C4A-A402-EFBD9B357B22}" destId="{62372CAD-8CEA-5249-B725-06E12ECDABED}" srcOrd="6" destOrd="0" presId="urn:microsoft.com/office/officeart/2005/8/layout/hierarchy3"/>
    <dgm:cxn modelId="{A26F7423-663D-294A-A0AA-3E0F4157C137}" type="presParOf" srcId="{41D64697-6E39-5C4A-A402-EFBD9B357B22}" destId="{B14971FA-8479-2647-910A-061B76333F31}" srcOrd="7" destOrd="0" presId="urn:microsoft.com/office/officeart/2005/8/layout/hierarchy3"/>
    <dgm:cxn modelId="{B9482AA6-B713-E045-9BD5-19EB68786CE9}" type="presParOf" srcId="{16F309D4-BE1B-8D44-A2FF-C8BCEAD0DD2A}" destId="{0B92FC74-4071-764A-A2F7-8B7BC1055406}" srcOrd="3" destOrd="0" presId="urn:microsoft.com/office/officeart/2005/8/layout/hierarchy3"/>
    <dgm:cxn modelId="{6E93C54D-ED28-B442-9E99-F359F0E1A1EC}" type="presParOf" srcId="{0B92FC74-4071-764A-A2F7-8B7BC1055406}" destId="{7BE5EE51-5566-A34B-BEC5-6D9956914C98}" srcOrd="0" destOrd="0" presId="urn:microsoft.com/office/officeart/2005/8/layout/hierarchy3"/>
    <dgm:cxn modelId="{F1B67D76-3618-B64E-96C8-6152E4D3B7AE}" type="presParOf" srcId="{7BE5EE51-5566-A34B-BEC5-6D9956914C98}" destId="{2FA8F23F-35CD-C54A-8783-629A03772AEC}" srcOrd="0" destOrd="0" presId="urn:microsoft.com/office/officeart/2005/8/layout/hierarchy3"/>
    <dgm:cxn modelId="{55E52025-4F46-6944-9B91-FCDC34825020}" type="presParOf" srcId="{7BE5EE51-5566-A34B-BEC5-6D9956914C98}" destId="{40C13E8D-350F-9F47-8B40-A10BE8257C70}" srcOrd="1" destOrd="0" presId="urn:microsoft.com/office/officeart/2005/8/layout/hierarchy3"/>
    <dgm:cxn modelId="{4DAE18CF-9625-6740-921F-74E6C3F4421C}" type="presParOf" srcId="{0B92FC74-4071-764A-A2F7-8B7BC1055406}" destId="{4DCBCE0A-FB7A-D648-968B-63FF67ACDB8C}" srcOrd="1" destOrd="0" presId="urn:microsoft.com/office/officeart/2005/8/layout/hierarchy3"/>
    <dgm:cxn modelId="{F622727C-86F5-E147-B084-CB9F4C5AE304}" type="presParOf" srcId="{4DCBCE0A-FB7A-D648-968B-63FF67ACDB8C}" destId="{9E84B493-25F5-DF4D-8ECA-FEBA7BDB38A6}" srcOrd="0" destOrd="0" presId="urn:microsoft.com/office/officeart/2005/8/layout/hierarchy3"/>
    <dgm:cxn modelId="{A9B6235D-AF78-6F4A-9B1E-71C466AD4C8E}" type="presParOf" srcId="{4DCBCE0A-FB7A-D648-968B-63FF67ACDB8C}" destId="{6383FD56-CDCD-2945-B041-9B16034E0889}" srcOrd="1" destOrd="0" presId="urn:microsoft.com/office/officeart/2005/8/layout/hierarchy3"/>
    <dgm:cxn modelId="{ACEC133D-4FE6-6D4D-A81F-ED842D844F76}" type="presParOf" srcId="{4DCBCE0A-FB7A-D648-968B-63FF67ACDB8C}" destId="{3FB2E1DB-7F77-A940-A44D-A2EBF02F6AA8}" srcOrd="2" destOrd="0" presId="urn:microsoft.com/office/officeart/2005/8/layout/hierarchy3"/>
    <dgm:cxn modelId="{62EE8760-7F1D-0344-9332-24BBBA310E0F}" type="presParOf" srcId="{4DCBCE0A-FB7A-D648-968B-63FF67ACDB8C}" destId="{84AF0035-BFE5-2044-A7EB-39D21B6B4C23}" srcOrd="3" destOrd="0" presId="urn:microsoft.com/office/officeart/2005/8/layout/hierarchy3"/>
    <dgm:cxn modelId="{B6576FE2-194D-8A4B-81B1-7E4AF3CF27C6}" type="presParOf" srcId="{4DCBCE0A-FB7A-D648-968B-63FF67ACDB8C}" destId="{6544270F-F7B6-E049-B33D-1DD08D2C8DA4}" srcOrd="4" destOrd="0" presId="urn:microsoft.com/office/officeart/2005/8/layout/hierarchy3"/>
    <dgm:cxn modelId="{299C1CDC-BA7F-584D-96D6-A98B64FE05E0}" type="presParOf" srcId="{4DCBCE0A-FB7A-D648-968B-63FF67ACDB8C}" destId="{CD3B654E-F569-E741-95FD-BAEB3D862512}" srcOrd="5" destOrd="0" presId="urn:microsoft.com/office/officeart/2005/8/layout/hierarchy3"/>
    <dgm:cxn modelId="{C5DA51D8-E209-E342-9D81-B3565E15C3B7}" type="presParOf" srcId="{4DCBCE0A-FB7A-D648-968B-63FF67ACDB8C}" destId="{A766C9EF-D2E9-D042-A8CB-171425FDB28D}" srcOrd="6" destOrd="0" presId="urn:microsoft.com/office/officeart/2005/8/layout/hierarchy3"/>
    <dgm:cxn modelId="{A23B769E-9A68-7C4F-A68E-2BC5A25FA573}" type="presParOf" srcId="{4DCBCE0A-FB7A-D648-968B-63FF67ACDB8C}" destId="{E6601567-ED76-D74F-A58C-75189A8C23BF}" srcOrd="7" destOrd="0" presId="urn:microsoft.com/office/officeart/2005/8/layout/hierarchy3"/>
    <dgm:cxn modelId="{D6871E1B-D1BE-914A-B914-FC59833C25D3}" type="presParOf" srcId="{4DCBCE0A-FB7A-D648-968B-63FF67ACDB8C}" destId="{4775D44D-645E-E249-ADDE-D82E8C608398}" srcOrd="8" destOrd="0" presId="urn:microsoft.com/office/officeart/2005/8/layout/hierarchy3"/>
    <dgm:cxn modelId="{C55FBE72-A528-A840-94DC-A223B2402114}" type="presParOf" srcId="{4DCBCE0A-FB7A-D648-968B-63FF67ACDB8C}" destId="{051EB7AD-8953-834A-8746-11F852A289E6}" srcOrd="9" destOrd="0" presId="urn:microsoft.com/office/officeart/2005/8/layout/hierarchy3"/>
    <dgm:cxn modelId="{087D0AC2-E08F-9C4A-AB91-E1F233629FA1}" type="presParOf" srcId="{16F309D4-BE1B-8D44-A2FF-C8BCEAD0DD2A}" destId="{719EB4DA-DF2C-5D44-A48A-750440292576}" srcOrd="4" destOrd="0" presId="urn:microsoft.com/office/officeart/2005/8/layout/hierarchy3"/>
    <dgm:cxn modelId="{D55CB2F1-1F5A-EE4A-B3EB-2C4E883D8361}" type="presParOf" srcId="{719EB4DA-DF2C-5D44-A48A-750440292576}" destId="{39FC2340-0F74-CF48-9C7B-51D8F6F2215E}" srcOrd="0" destOrd="0" presId="urn:microsoft.com/office/officeart/2005/8/layout/hierarchy3"/>
    <dgm:cxn modelId="{05C213A0-3048-FA4D-9AFD-A3FE417AB1BE}" type="presParOf" srcId="{39FC2340-0F74-CF48-9C7B-51D8F6F2215E}" destId="{F22BDB45-6DFC-C945-B9D7-19948CF5FF0A}" srcOrd="0" destOrd="0" presId="urn:microsoft.com/office/officeart/2005/8/layout/hierarchy3"/>
    <dgm:cxn modelId="{6D0E0467-50F3-2D4C-A7BF-1243C38E9D36}" type="presParOf" srcId="{39FC2340-0F74-CF48-9C7B-51D8F6F2215E}" destId="{31ED4CE2-5851-2844-95C2-49FB992474CB}" srcOrd="1" destOrd="0" presId="urn:microsoft.com/office/officeart/2005/8/layout/hierarchy3"/>
    <dgm:cxn modelId="{7BCCB707-21E6-D74E-9442-87FA1B2028AA}" type="presParOf" srcId="{719EB4DA-DF2C-5D44-A48A-750440292576}" destId="{43DD40E6-F2F7-A242-93A4-9837A08DBC2B}" srcOrd="1" destOrd="0" presId="urn:microsoft.com/office/officeart/2005/8/layout/hierarchy3"/>
    <dgm:cxn modelId="{6D7184D0-42A8-3443-8BA9-AAF303AA4FBD}" type="presParOf" srcId="{43DD40E6-F2F7-A242-93A4-9837A08DBC2B}" destId="{9BB28569-8A99-3547-82B9-E7AE7B791E8E}" srcOrd="0" destOrd="0" presId="urn:microsoft.com/office/officeart/2005/8/layout/hierarchy3"/>
    <dgm:cxn modelId="{77692873-DF51-B144-B425-A020C4F8CF36}" type="presParOf" srcId="{43DD40E6-F2F7-A242-93A4-9837A08DBC2B}" destId="{D6C47007-297A-9149-B858-94EACBFC3B98}" srcOrd="1" destOrd="0" presId="urn:microsoft.com/office/officeart/2005/8/layout/hierarchy3"/>
    <dgm:cxn modelId="{7D6F0C63-B372-A341-8B83-B7D3B3B84B63}" type="presParOf" srcId="{43DD40E6-F2F7-A242-93A4-9837A08DBC2B}" destId="{57251F56-0827-F642-9213-6BAF8C24320C}" srcOrd="2" destOrd="0" presId="urn:microsoft.com/office/officeart/2005/8/layout/hierarchy3"/>
    <dgm:cxn modelId="{6B5D9737-AFD5-1149-AFC2-8B3DD5365654}" type="presParOf" srcId="{43DD40E6-F2F7-A242-93A4-9837A08DBC2B}" destId="{18EDD8C2-B42A-184F-9F26-A856FFE0B12C}" srcOrd="3" destOrd="0" presId="urn:microsoft.com/office/officeart/2005/8/layout/hierarchy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3AFC22A0-EA30-2744-83DC-22EDEE9739FE}" type="doc">
      <dgm:prSet loTypeId="urn:microsoft.com/office/officeart/2009/3/layout/HorizontalOrganizationChart" loCatId="" qsTypeId="urn:microsoft.com/office/officeart/2005/8/quickstyle/simple1" qsCatId="simple" csTypeId="urn:microsoft.com/office/officeart/2005/8/colors/accent0_2" csCatId="mainScheme" phldr="1"/>
      <dgm:spPr/>
      <dgm:t>
        <a:bodyPr/>
        <a:lstStyle/>
        <a:p>
          <a:endParaRPr lang="en-US"/>
        </a:p>
      </dgm:t>
    </dgm:pt>
    <dgm:pt modelId="{153546E0-3490-054F-849C-4D8E7F40F9AC}">
      <dgm:prSet phldrT="[Text]"/>
      <dgm:spPr/>
      <dgm:t>
        <a:bodyPr/>
        <a:lstStyle/>
        <a:p>
          <a:r>
            <a:rPr lang="en-US" b="1" dirty="0"/>
            <a:t>Pattern Form*</a:t>
          </a:r>
        </a:p>
      </dgm:t>
    </dgm:pt>
    <dgm:pt modelId="{852264B5-88B5-E646-84CD-F4A5338E4B98}" type="parTrans" cxnId="{D69C092D-821B-2543-919F-431E37F9724D}">
      <dgm:prSet/>
      <dgm:spPr/>
      <dgm:t>
        <a:bodyPr/>
        <a:lstStyle/>
        <a:p>
          <a:endParaRPr lang="en-US"/>
        </a:p>
      </dgm:t>
    </dgm:pt>
    <dgm:pt modelId="{23536B86-35C5-1345-B51E-5840F1DB093C}" type="sibTrans" cxnId="{D69C092D-821B-2543-919F-431E37F9724D}">
      <dgm:prSet/>
      <dgm:spPr/>
      <dgm:t>
        <a:bodyPr/>
        <a:lstStyle/>
        <a:p>
          <a:endParaRPr lang="en-US" dirty="0"/>
        </a:p>
      </dgm:t>
    </dgm:pt>
    <dgm:pt modelId="{526E8368-2F9F-074A-8A1E-FF4998D0F1C4}">
      <dgm:prSet phldrT="[Text]"/>
      <dgm:spPr/>
      <dgm:t>
        <a:bodyPr/>
        <a:lstStyle/>
        <a:p>
          <a:r>
            <a:rPr lang="en-US" b="1" dirty="0"/>
            <a:t>Pattern Name</a:t>
          </a:r>
        </a:p>
      </dgm:t>
    </dgm:pt>
    <dgm:pt modelId="{827048D1-0C64-9E4A-977C-9A28CF006D20}" type="parTrans" cxnId="{04CD30A7-741F-AB42-A494-65DDCCD201BC}">
      <dgm:prSet/>
      <dgm:spPr/>
      <dgm:t>
        <a:bodyPr/>
        <a:lstStyle/>
        <a:p>
          <a:endParaRPr lang="en-US"/>
        </a:p>
      </dgm:t>
    </dgm:pt>
    <dgm:pt modelId="{7629C966-B963-5743-8C14-E2302A6419D5}" type="sibTrans" cxnId="{04CD30A7-741F-AB42-A494-65DDCCD201BC}">
      <dgm:prSet/>
      <dgm:spPr/>
      <dgm:t>
        <a:bodyPr/>
        <a:lstStyle/>
        <a:p>
          <a:endParaRPr lang="en-US"/>
        </a:p>
      </dgm:t>
    </dgm:pt>
    <dgm:pt modelId="{ABEBEA11-C82A-3342-8246-4713E46D067A}">
      <dgm:prSet phldrT="[Text]"/>
      <dgm:spPr/>
      <dgm:t>
        <a:bodyPr/>
        <a:lstStyle/>
        <a:p>
          <a:r>
            <a:rPr lang="en-US" b="1" dirty="0"/>
            <a:t>Summary</a:t>
          </a:r>
        </a:p>
      </dgm:t>
    </dgm:pt>
    <dgm:pt modelId="{9CC0B900-4B49-0A43-B54E-11AE06833C45}" type="parTrans" cxnId="{0BCC0FA3-2C2C-0246-9361-69F2DD770A7C}">
      <dgm:prSet/>
      <dgm:spPr/>
      <dgm:t>
        <a:bodyPr/>
        <a:lstStyle/>
        <a:p>
          <a:endParaRPr lang="en-US"/>
        </a:p>
      </dgm:t>
    </dgm:pt>
    <dgm:pt modelId="{54DB5A57-8AB8-1F44-A6B1-343B45697ED8}" type="sibTrans" cxnId="{0BCC0FA3-2C2C-0246-9361-69F2DD770A7C}">
      <dgm:prSet/>
      <dgm:spPr/>
      <dgm:t>
        <a:bodyPr/>
        <a:lstStyle/>
        <a:p>
          <a:endParaRPr lang="en-US"/>
        </a:p>
      </dgm:t>
    </dgm:pt>
    <dgm:pt modelId="{7A0049F3-FA04-6C4B-B33F-043E7A980B20}">
      <dgm:prSet phldrT="[Text]"/>
      <dgm:spPr/>
      <dgm:t>
        <a:bodyPr/>
        <a:lstStyle/>
        <a:p>
          <a:r>
            <a:rPr lang="en-US" b="1" dirty="0"/>
            <a:t>Context</a:t>
          </a:r>
        </a:p>
      </dgm:t>
    </dgm:pt>
    <dgm:pt modelId="{EE9CBBF9-B25D-144C-B565-3B6AF4D70FB2}" type="parTrans" cxnId="{DB1952D1-138E-CE4D-BC2F-DBCEBAF37239}">
      <dgm:prSet/>
      <dgm:spPr/>
      <dgm:t>
        <a:bodyPr/>
        <a:lstStyle/>
        <a:p>
          <a:endParaRPr lang="en-US"/>
        </a:p>
      </dgm:t>
    </dgm:pt>
    <dgm:pt modelId="{E541CE3D-B0BE-F94C-B75B-CF3BEC7FB946}" type="sibTrans" cxnId="{DB1952D1-138E-CE4D-BC2F-DBCEBAF37239}">
      <dgm:prSet/>
      <dgm:spPr/>
      <dgm:t>
        <a:bodyPr/>
        <a:lstStyle/>
        <a:p>
          <a:endParaRPr lang="en-US"/>
        </a:p>
      </dgm:t>
    </dgm:pt>
    <dgm:pt modelId="{D3F3420D-5D24-664E-8E66-5517D176FB1D}">
      <dgm:prSet phldrT="[Text]"/>
      <dgm:spPr/>
      <dgm:t>
        <a:bodyPr/>
        <a:lstStyle/>
        <a:p>
          <a:r>
            <a:rPr lang="en-US" b="1" dirty="0"/>
            <a:t>Problem Statement</a:t>
          </a:r>
        </a:p>
      </dgm:t>
    </dgm:pt>
    <dgm:pt modelId="{FF949A33-2418-CA45-B875-8755F5339D01}" type="parTrans" cxnId="{3E2186F0-A934-1645-BBB3-052067C35433}">
      <dgm:prSet/>
      <dgm:spPr/>
      <dgm:t>
        <a:bodyPr/>
        <a:lstStyle/>
        <a:p>
          <a:endParaRPr lang="en-US"/>
        </a:p>
      </dgm:t>
    </dgm:pt>
    <dgm:pt modelId="{CC7C3AE3-A0F4-AF4F-8C09-562962917790}" type="sibTrans" cxnId="{3E2186F0-A934-1645-BBB3-052067C35433}">
      <dgm:prSet/>
      <dgm:spPr/>
      <dgm:t>
        <a:bodyPr/>
        <a:lstStyle/>
        <a:p>
          <a:endParaRPr lang="en-US"/>
        </a:p>
      </dgm:t>
    </dgm:pt>
    <dgm:pt modelId="{92703CDA-4C94-3E4F-8B2E-F46E14AA2FF2}">
      <dgm:prSet phldrT="[Text]"/>
      <dgm:spPr/>
      <dgm:t>
        <a:bodyPr/>
        <a:lstStyle/>
        <a:p>
          <a:r>
            <a:rPr lang="en-US" b="1" dirty="0"/>
            <a:t>Forces</a:t>
          </a:r>
        </a:p>
      </dgm:t>
    </dgm:pt>
    <dgm:pt modelId="{3845B904-0561-0049-BF78-F2B06C3E47EB}" type="parTrans" cxnId="{760AA024-3DB7-C143-8D72-FD7B87140DA1}">
      <dgm:prSet/>
      <dgm:spPr/>
      <dgm:t>
        <a:bodyPr/>
        <a:lstStyle/>
        <a:p>
          <a:endParaRPr lang="en-US"/>
        </a:p>
      </dgm:t>
    </dgm:pt>
    <dgm:pt modelId="{D3DEC5FD-D4CB-FA46-840F-03D6974508A5}" type="sibTrans" cxnId="{760AA024-3DB7-C143-8D72-FD7B87140DA1}">
      <dgm:prSet/>
      <dgm:spPr/>
      <dgm:t>
        <a:bodyPr/>
        <a:lstStyle/>
        <a:p>
          <a:endParaRPr lang="en-US" dirty="0"/>
        </a:p>
      </dgm:t>
    </dgm:pt>
    <dgm:pt modelId="{3E83E951-8A57-1D42-8014-05C2744BFADF}">
      <dgm:prSet phldrT="[Text]"/>
      <dgm:spPr/>
      <dgm:t>
        <a:bodyPr/>
        <a:lstStyle/>
        <a:p>
          <a:r>
            <a:rPr lang="en-US" b="1" dirty="0"/>
            <a:t>Solution</a:t>
          </a:r>
        </a:p>
      </dgm:t>
    </dgm:pt>
    <dgm:pt modelId="{E8BDF334-A533-D642-B8F1-19F376A08EF0}" type="parTrans" cxnId="{C4F332A0-6CEF-E14B-8390-0055B5111F86}">
      <dgm:prSet/>
      <dgm:spPr/>
      <dgm:t>
        <a:bodyPr/>
        <a:lstStyle/>
        <a:p>
          <a:endParaRPr lang="en-US"/>
        </a:p>
      </dgm:t>
    </dgm:pt>
    <dgm:pt modelId="{94C35535-57D7-204D-807F-6CAB93A5C3C4}" type="sibTrans" cxnId="{C4F332A0-6CEF-E14B-8390-0055B5111F86}">
      <dgm:prSet/>
      <dgm:spPr/>
      <dgm:t>
        <a:bodyPr/>
        <a:lstStyle/>
        <a:p>
          <a:endParaRPr lang="en-US"/>
        </a:p>
      </dgm:t>
    </dgm:pt>
    <dgm:pt modelId="{9FAA9E2D-612D-5A40-9D1A-46E213180B21}">
      <dgm:prSet phldrT="[Text]"/>
      <dgm:spPr/>
      <dgm:t>
        <a:bodyPr/>
        <a:lstStyle/>
        <a:p>
          <a:r>
            <a:rPr lang="en-US" b="1" dirty="0"/>
            <a:t>Consequences</a:t>
          </a:r>
        </a:p>
      </dgm:t>
    </dgm:pt>
    <dgm:pt modelId="{7FC37BFE-5DE9-9C4E-AFD1-063DAFD22087}" type="parTrans" cxnId="{4B40FBE6-E7A5-7F44-A1D5-2E0332F4CC96}">
      <dgm:prSet/>
      <dgm:spPr/>
      <dgm:t>
        <a:bodyPr/>
        <a:lstStyle/>
        <a:p>
          <a:endParaRPr lang="en-US"/>
        </a:p>
      </dgm:t>
    </dgm:pt>
    <dgm:pt modelId="{8A2B82F5-4386-594E-A758-3DB06AF6FBDA}" type="sibTrans" cxnId="{4B40FBE6-E7A5-7F44-A1D5-2E0332F4CC96}">
      <dgm:prSet/>
      <dgm:spPr/>
      <dgm:t>
        <a:bodyPr/>
        <a:lstStyle/>
        <a:p>
          <a:endParaRPr lang="en-US"/>
        </a:p>
      </dgm:t>
    </dgm:pt>
    <dgm:pt modelId="{3CCEBE12-34B3-8D44-BF9F-71F65C0DC031}">
      <dgm:prSet phldrT="[Text]"/>
      <dgm:spPr/>
      <dgm:t>
        <a:bodyPr/>
        <a:lstStyle/>
        <a:p>
          <a:r>
            <a:rPr lang="en-US" b="1" dirty="0"/>
            <a:t>Real-world known uses</a:t>
          </a:r>
        </a:p>
      </dgm:t>
    </dgm:pt>
    <dgm:pt modelId="{852BC08E-A301-9844-B60F-3025E9932631}" type="parTrans" cxnId="{8D0A6114-E5C6-1642-907C-9D2E0411982F}">
      <dgm:prSet/>
      <dgm:spPr/>
      <dgm:t>
        <a:bodyPr/>
        <a:lstStyle/>
        <a:p>
          <a:endParaRPr lang="en-US"/>
        </a:p>
      </dgm:t>
    </dgm:pt>
    <dgm:pt modelId="{2BE93E6D-7397-6746-B225-9702B72D7594}" type="sibTrans" cxnId="{8D0A6114-E5C6-1642-907C-9D2E0411982F}">
      <dgm:prSet/>
      <dgm:spPr/>
      <dgm:t>
        <a:bodyPr/>
        <a:lstStyle/>
        <a:p>
          <a:endParaRPr lang="en-US"/>
        </a:p>
      </dgm:t>
    </dgm:pt>
    <dgm:pt modelId="{489C5FA4-BB16-7F4D-B110-7977E47335B5}">
      <dgm:prSet phldrT="[Text]"/>
      <dgm:spPr/>
      <dgm:t>
        <a:bodyPr/>
        <a:lstStyle/>
        <a:p>
          <a:r>
            <a:rPr lang="en-US" b="1" dirty="0"/>
            <a:t>Benefits</a:t>
          </a:r>
        </a:p>
      </dgm:t>
    </dgm:pt>
    <dgm:pt modelId="{ACCE4294-DD74-DC47-BF5F-559B814E72F3}" type="parTrans" cxnId="{6CEC512A-FD67-8048-80D2-2DDDCE19DAE4}">
      <dgm:prSet/>
      <dgm:spPr/>
      <dgm:t>
        <a:bodyPr/>
        <a:lstStyle/>
        <a:p>
          <a:endParaRPr lang="en-US"/>
        </a:p>
      </dgm:t>
    </dgm:pt>
    <dgm:pt modelId="{B89ABE40-F217-CB4D-A458-D2B9E0D7D852}" type="sibTrans" cxnId="{6CEC512A-FD67-8048-80D2-2DDDCE19DAE4}">
      <dgm:prSet/>
      <dgm:spPr/>
      <dgm:t>
        <a:bodyPr/>
        <a:lstStyle/>
        <a:p>
          <a:endParaRPr lang="en-US"/>
        </a:p>
      </dgm:t>
    </dgm:pt>
    <dgm:pt modelId="{D4F348A8-0BED-A347-A143-9BDFAD73A1FF}">
      <dgm:prSet phldrT="[Text]"/>
      <dgm:spPr/>
      <dgm:t>
        <a:bodyPr/>
        <a:lstStyle/>
        <a:p>
          <a:r>
            <a:rPr lang="en-US" b="1" dirty="0"/>
            <a:t>Drawbacks</a:t>
          </a:r>
        </a:p>
      </dgm:t>
    </dgm:pt>
    <dgm:pt modelId="{4935866C-01D0-514D-B46F-459E4B1ACE7C}" type="parTrans" cxnId="{14136D20-10BE-6F42-8E3C-152B24CCE218}">
      <dgm:prSet/>
      <dgm:spPr/>
      <dgm:t>
        <a:bodyPr/>
        <a:lstStyle/>
        <a:p>
          <a:endParaRPr lang="en-US"/>
        </a:p>
      </dgm:t>
    </dgm:pt>
    <dgm:pt modelId="{A50DD61E-F023-7E42-B04B-DB3F0603EA17}" type="sibTrans" cxnId="{14136D20-10BE-6F42-8E3C-152B24CCE218}">
      <dgm:prSet/>
      <dgm:spPr/>
      <dgm:t>
        <a:bodyPr/>
        <a:lstStyle/>
        <a:p>
          <a:endParaRPr lang="en-US"/>
        </a:p>
      </dgm:t>
    </dgm:pt>
    <dgm:pt modelId="{29D6A3C1-F671-3943-9A95-B3CBF4CE5707}">
      <dgm:prSet phldrT="[Text]"/>
      <dgm:spPr/>
      <dgm:t>
        <a:bodyPr/>
        <a:lstStyle/>
        <a:p>
          <a:r>
            <a:rPr lang="en-US" b="1" dirty="0"/>
            <a:t>Related patterns</a:t>
          </a:r>
        </a:p>
      </dgm:t>
    </dgm:pt>
    <dgm:pt modelId="{5DB6169A-EEA7-8A48-B219-4B8CC17AFE19}" type="parTrans" cxnId="{AD35476E-2AEE-CE42-A27D-6C6D95C867C4}">
      <dgm:prSet/>
      <dgm:spPr/>
      <dgm:t>
        <a:bodyPr/>
        <a:lstStyle/>
        <a:p>
          <a:endParaRPr lang="en-US"/>
        </a:p>
      </dgm:t>
    </dgm:pt>
    <dgm:pt modelId="{9101B7F7-6049-0A46-8839-24606113BCB2}" type="sibTrans" cxnId="{AD35476E-2AEE-CE42-A27D-6C6D95C867C4}">
      <dgm:prSet/>
      <dgm:spPr/>
      <dgm:t>
        <a:bodyPr/>
        <a:lstStyle/>
        <a:p>
          <a:endParaRPr lang="en-US"/>
        </a:p>
      </dgm:t>
    </dgm:pt>
    <dgm:pt modelId="{3EADF818-BD1D-B049-9499-E837ABC3F620}" type="pres">
      <dgm:prSet presAssocID="{3AFC22A0-EA30-2744-83DC-22EDEE9739FE}" presName="hierChild1" presStyleCnt="0">
        <dgm:presLayoutVars>
          <dgm:orgChart val="1"/>
          <dgm:chPref val="1"/>
          <dgm:dir/>
          <dgm:animOne val="branch"/>
          <dgm:animLvl val="lvl"/>
          <dgm:resizeHandles/>
        </dgm:presLayoutVars>
      </dgm:prSet>
      <dgm:spPr/>
    </dgm:pt>
    <dgm:pt modelId="{D6477084-FA43-4A40-8DD1-3D425BC18EA4}" type="pres">
      <dgm:prSet presAssocID="{153546E0-3490-054F-849C-4D8E7F40F9AC}" presName="hierRoot1" presStyleCnt="0">
        <dgm:presLayoutVars>
          <dgm:hierBranch val="init"/>
        </dgm:presLayoutVars>
      </dgm:prSet>
      <dgm:spPr/>
    </dgm:pt>
    <dgm:pt modelId="{81FD91E7-153F-E340-AFDA-227DAC33D025}" type="pres">
      <dgm:prSet presAssocID="{153546E0-3490-054F-849C-4D8E7F40F9AC}" presName="rootComposite1" presStyleCnt="0"/>
      <dgm:spPr/>
    </dgm:pt>
    <dgm:pt modelId="{DAF435B8-AC54-A04A-8555-5BB0F3161BCB}" type="pres">
      <dgm:prSet presAssocID="{153546E0-3490-054F-849C-4D8E7F40F9AC}" presName="rootText1" presStyleLbl="node0" presStyleIdx="0" presStyleCnt="1">
        <dgm:presLayoutVars>
          <dgm:chPref val="3"/>
        </dgm:presLayoutVars>
      </dgm:prSet>
      <dgm:spPr/>
    </dgm:pt>
    <dgm:pt modelId="{88ABABA2-3722-EC40-B021-7572C797B7EE}" type="pres">
      <dgm:prSet presAssocID="{153546E0-3490-054F-849C-4D8E7F40F9AC}" presName="rootConnector1" presStyleLbl="node1" presStyleIdx="0" presStyleCnt="0"/>
      <dgm:spPr/>
    </dgm:pt>
    <dgm:pt modelId="{23F6E1D9-2C0C-804A-B29E-0E4ED44BE5CE}" type="pres">
      <dgm:prSet presAssocID="{153546E0-3490-054F-849C-4D8E7F40F9AC}" presName="hierChild2" presStyleCnt="0"/>
      <dgm:spPr/>
    </dgm:pt>
    <dgm:pt modelId="{2EB48850-F88E-4446-A5F1-E491055A7AED}" type="pres">
      <dgm:prSet presAssocID="{827048D1-0C64-9E4A-977C-9A28CF006D20}" presName="Name64" presStyleLbl="parChTrans1D2" presStyleIdx="0" presStyleCnt="9"/>
      <dgm:spPr/>
    </dgm:pt>
    <dgm:pt modelId="{B22F6E30-8BE1-6846-A11D-72A994426CDE}" type="pres">
      <dgm:prSet presAssocID="{526E8368-2F9F-074A-8A1E-FF4998D0F1C4}" presName="hierRoot2" presStyleCnt="0">
        <dgm:presLayoutVars>
          <dgm:hierBranch val="init"/>
        </dgm:presLayoutVars>
      </dgm:prSet>
      <dgm:spPr/>
    </dgm:pt>
    <dgm:pt modelId="{DE30CE67-9FB4-6742-B5E3-A80D7BA2862C}" type="pres">
      <dgm:prSet presAssocID="{526E8368-2F9F-074A-8A1E-FF4998D0F1C4}" presName="rootComposite" presStyleCnt="0"/>
      <dgm:spPr/>
    </dgm:pt>
    <dgm:pt modelId="{693F533D-A577-C443-9BDD-EC20C54CF7CF}" type="pres">
      <dgm:prSet presAssocID="{526E8368-2F9F-074A-8A1E-FF4998D0F1C4}" presName="rootText" presStyleLbl="node2" presStyleIdx="0" presStyleCnt="9">
        <dgm:presLayoutVars>
          <dgm:chPref val="3"/>
        </dgm:presLayoutVars>
      </dgm:prSet>
      <dgm:spPr/>
    </dgm:pt>
    <dgm:pt modelId="{C900733E-715B-0D4B-9035-370EED05E2A6}" type="pres">
      <dgm:prSet presAssocID="{526E8368-2F9F-074A-8A1E-FF4998D0F1C4}" presName="rootConnector" presStyleLbl="node2" presStyleIdx="0" presStyleCnt="9"/>
      <dgm:spPr/>
    </dgm:pt>
    <dgm:pt modelId="{D07FFF6B-FDD2-C343-87B1-24188A0DF897}" type="pres">
      <dgm:prSet presAssocID="{526E8368-2F9F-074A-8A1E-FF4998D0F1C4}" presName="hierChild4" presStyleCnt="0"/>
      <dgm:spPr/>
    </dgm:pt>
    <dgm:pt modelId="{0DC65666-B14F-924E-BE18-244E4CB3C599}" type="pres">
      <dgm:prSet presAssocID="{526E8368-2F9F-074A-8A1E-FF4998D0F1C4}" presName="hierChild5" presStyleCnt="0"/>
      <dgm:spPr/>
    </dgm:pt>
    <dgm:pt modelId="{5025B89C-BFAC-1749-BA34-E9E89FC4E403}" type="pres">
      <dgm:prSet presAssocID="{9CC0B900-4B49-0A43-B54E-11AE06833C45}" presName="Name64" presStyleLbl="parChTrans1D2" presStyleIdx="1" presStyleCnt="9"/>
      <dgm:spPr/>
    </dgm:pt>
    <dgm:pt modelId="{85DF342A-4C72-DD4B-83E0-F392438250E6}" type="pres">
      <dgm:prSet presAssocID="{ABEBEA11-C82A-3342-8246-4713E46D067A}" presName="hierRoot2" presStyleCnt="0">
        <dgm:presLayoutVars>
          <dgm:hierBranch val="init"/>
        </dgm:presLayoutVars>
      </dgm:prSet>
      <dgm:spPr/>
    </dgm:pt>
    <dgm:pt modelId="{4BE5DCA1-D133-7C46-ABB1-0D171A537DAA}" type="pres">
      <dgm:prSet presAssocID="{ABEBEA11-C82A-3342-8246-4713E46D067A}" presName="rootComposite" presStyleCnt="0"/>
      <dgm:spPr/>
    </dgm:pt>
    <dgm:pt modelId="{04F0C9FB-1872-FD45-919D-CD509CC7ACD2}" type="pres">
      <dgm:prSet presAssocID="{ABEBEA11-C82A-3342-8246-4713E46D067A}" presName="rootText" presStyleLbl="node2" presStyleIdx="1" presStyleCnt="9">
        <dgm:presLayoutVars>
          <dgm:chPref val="3"/>
        </dgm:presLayoutVars>
      </dgm:prSet>
      <dgm:spPr/>
    </dgm:pt>
    <dgm:pt modelId="{4D714A61-ECC9-B449-937C-47DE61936903}" type="pres">
      <dgm:prSet presAssocID="{ABEBEA11-C82A-3342-8246-4713E46D067A}" presName="rootConnector" presStyleLbl="node2" presStyleIdx="1" presStyleCnt="9"/>
      <dgm:spPr/>
    </dgm:pt>
    <dgm:pt modelId="{5525697B-7922-DC40-84C1-EBAA141A3678}" type="pres">
      <dgm:prSet presAssocID="{ABEBEA11-C82A-3342-8246-4713E46D067A}" presName="hierChild4" presStyleCnt="0"/>
      <dgm:spPr/>
    </dgm:pt>
    <dgm:pt modelId="{D11EEA38-CB94-B649-A521-E829724500A4}" type="pres">
      <dgm:prSet presAssocID="{ABEBEA11-C82A-3342-8246-4713E46D067A}" presName="hierChild5" presStyleCnt="0"/>
      <dgm:spPr/>
    </dgm:pt>
    <dgm:pt modelId="{91A6EDE1-DEC0-964A-9560-6EF604D22C5C}" type="pres">
      <dgm:prSet presAssocID="{EE9CBBF9-B25D-144C-B565-3B6AF4D70FB2}" presName="Name64" presStyleLbl="parChTrans1D2" presStyleIdx="2" presStyleCnt="9"/>
      <dgm:spPr/>
    </dgm:pt>
    <dgm:pt modelId="{FA7542C5-FB48-0D4C-9912-6E21FF376F18}" type="pres">
      <dgm:prSet presAssocID="{7A0049F3-FA04-6C4B-B33F-043E7A980B20}" presName="hierRoot2" presStyleCnt="0">
        <dgm:presLayoutVars>
          <dgm:hierBranch val="init"/>
        </dgm:presLayoutVars>
      </dgm:prSet>
      <dgm:spPr/>
    </dgm:pt>
    <dgm:pt modelId="{915724A2-BA3A-F64D-87ED-E60C5A399B9F}" type="pres">
      <dgm:prSet presAssocID="{7A0049F3-FA04-6C4B-B33F-043E7A980B20}" presName="rootComposite" presStyleCnt="0"/>
      <dgm:spPr/>
    </dgm:pt>
    <dgm:pt modelId="{6D78F15A-B86A-5D47-9B8E-74E5AABA5DEE}" type="pres">
      <dgm:prSet presAssocID="{7A0049F3-FA04-6C4B-B33F-043E7A980B20}" presName="rootText" presStyleLbl="node2" presStyleIdx="2" presStyleCnt="9">
        <dgm:presLayoutVars>
          <dgm:chPref val="3"/>
        </dgm:presLayoutVars>
      </dgm:prSet>
      <dgm:spPr/>
    </dgm:pt>
    <dgm:pt modelId="{4750112A-3894-5D41-A379-CEBF565E64F6}" type="pres">
      <dgm:prSet presAssocID="{7A0049F3-FA04-6C4B-B33F-043E7A980B20}" presName="rootConnector" presStyleLbl="node2" presStyleIdx="2" presStyleCnt="9"/>
      <dgm:spPr/>
    </dgm:pt>
    <dgm:pt modelId="{EE8B2F2C-55F3-4542-A9F5-A482B4146717}" type="pres">
      <dgm:prSet presAssocID="{7A0049F3-FA04-6C4B-B33F-043E7A980B20}" presName="hierChild4" presStyleCnt="0"/>
      <dgm:spPr/>
    </dgm:pt>
    <dgm:pt modelId="{1FE5A672-CE0F-0C4E-ACBB-FA7F3E2707B8}" type="pres">
      <dgm:prSet presAssocID="{7A0049F3-FA04-6C4B-B33F-043E7A980B20}" presName="hierChild5" presStyleCnt="0"/>
      <dgm:spPr/>
    </dgm:pt>
    <dgm:pt modelId="{699F8DD7-7177-2E45-833E-F4DBA93E05F1}" type="pres">
      <dgm:prSet presAssocID="{FF949A33-2418-CA45-B875-8755F5339D01}" presName="Name64" presStyleLbl="parChTrans1D2" presStyleIdx="3" presStyleCnt="9"/>
      <dgm:spPr/>
    </dgm:pt>
    <dgm:pt modelId="{75963F74-4672-134E-9F2C-DB06C6A5A06F}" type="pres">
      <dgm:prSet presAssocID="{D3F3420D-5D24-664E-8E66-5517D176FB1D}" presName="hierRoot2" presStyleCnt="0">
        <dgm:presLayoutVars>
          <dgm:hierBranch val="init"/>
        </dgm:presLayoutVars>
      </dgm:prSet>
      <dgm:spPr/>
    </dgm:pt>
    <dgm:pt modelId="{E38C26ED-EEEC-F44C-8DCF-4AAC0D8CCBC7}" type="pres">
      <dgm:prSet presAssocID="{D3F3420D-5D24-664E-8E66-5517D176FB1D}" presName="rootComposite" presStyleCnt="0"/>
      <dgm:spPr/>
    </dgm:pt>
    <dgm:pt modelId="{52359433-2B0C-624E-8316-58A884DF6397}" type="pres">
      <dgm:prSet presAssocID="{D3F3420D-5D24-664E-8E66-5517D176FB1D}" presName="rootText" presStyleLbl="node2" presStyleIdx="3" presStyleCnt="9">
        <dgm:presLayoutVars>
          <dgm:chPref val="3"/>
        </dgm:presLayoutVars>
      </dgm:prSet>
      <dgm:spPr/>
    </dgm:pt>
    <dgm:pt modelId="{02EA0B59-0086-E84B-8E64-ED4BC9D03C03}" type="pres">
      <dgm:prSet presAssocID="{D3F3420D-5D24-664E-8E66-5517D176FB1D}" presName="rootConnector" presStyleLbl="node2" presStyleIdx="3" presStyleCnt="9"/>
      <dgm:spPr/>
    </dgm:pt>
    <dgm:pt modelId="{CC113A83-E54F-9A4B-BBD6-9D46E4A95E48}" type="pres">
      <dgm:prSet presAssocID="{D3F3420D-5D24-664E-8E66-5517D176FB1D}" presName="hierChild4" presStyleCnt="0"/>
      <dgm:spPr/>
    </dgm:pt>
    <dgm:pt modelId="{F15A4E55-44BD-1646-B4AA-725836315AA0}" type="pres">
      <dgm:prSet presAssocID="{D3F3420D-5D24-664E-8E66-5517D176FB1D}" presName="hierChild5" presStyleCnt="0"/>
      <dgm:spPr/>
    </dgm:pt>
    <dgm:pt modelId="{1B76CE1D-1986-3C42-8928-376342AF5685}" type="pres">
      <dgm:prSet presAssocID="{3845B904-0561-0049-BF78-F2B06C3E47EB}" presName="Name64" presStyleLbl="parChTrans1D2" presStyleIdx="4" presStyleCnt="9"/>
      <dgm:spPr/>
    </dgm:pt>
    <dgm:pt modelId="{812A18E4-4F7A-FA48-8905-936ADBEB4B0A}" type="pres">
      <dgm:prSet presAssocID="{92703CDA-4C94-3E4F-8B2E-F46E14AA2FF2}" presName="hierRoot2" presStyleCnt="0">
        <dgm:presLayoutVars>
          <dgm:hierBranch val="init"/>
        </dgm:presLayoutVars>
      </dgm:prSet>
      <dgm:spPr/>
    </dgm:pt>
    <dgm:pt modelId="{4129D7E6-A527-7242-BAD0-BBCF3EE4D5CE}" type="pres">
      <dgm:prSet presAssocID="{92703CDA-4C94-3E4F-8B2E-F46E14AA2FF2}" presName="rootComposite" presStyleCnt="0"/>
      <dgm:spPr/>
    </dgm:pt>
    <dgm:pt modelId="{F0A59A47-9F2A-4346-96DA-3115F6E50019}" type="pres">
      <dgm:prSet presAssocID="{92703CDA-4C94-3E4F-8B2E-F46E14AA2FF2}" presName="rootText" presStyleLbl="node2" presStyleIdx="4" presStyleCnt="9">
        <dgm:presLayoutVars>
          <dgm:chPref val="3"/>
        </dgm:presLayoutVars>
      </dgm:prSet>
      <dgm:spPr/>
    </dgm:pt>
    <dgm:pt modelId="{3302CFCE-7FF5-5844-9AC6-B5119110B97B}" type="pres">
      <dgm:prSet presAssocID="{92703CDA-4C94-3E4F-8B2E-F46E14AA2FF2}" presName="rootConnector" presStyleLbl="node2" presStyleIdx="4" presStyleCnt="9"/>
      <dgm:spPr/>
    </dgm:pt>
    <dgm:pt modelId="{29C93E5A-9E1E-5344-BC28-49BCD0B33994}" type="pres">
      <dgm:prSet presAssocID="{92703CDA-4C94-3E4F-8B2E-F46E14AA2FF2}" presName="hierChild4" presStyleCnt="0"/>
      <dgm:spPr/>
    </dgm:pt>
    <dgm:pt modelId="{F857A609-1AA2-9A42-8680-C5B24BB720B2}" type="pres">
      <dgm:prSet presAssocID="{92703CDA-4C94-3E4F-8B2E-F46E14AA2FF2}" presName="hierChild5" presStyleCnt="0"/>
      <dgm:spPr/>
    </dgm:pt>
    <dgm:pt modelId="{A887A7AC-EDAC-2F46-93F7-155DA1233AD6}" type="pres">
      <dgm:prSet presAssocID="{E8BDF334-A533-D642-B8F1-19F376A08EF0}" presName="Name64" presStyleLbl="parChTrans1D2" presStyleIdx="5" presStyleCnt="9"/>
      <dgm:spPr/>
    </dgm:pt>
    <dgm:pt modelId="{94A7E8BA-FCE3-984A-8787-7CF1989BB45E}" type="pres">
      <dgm:prSet presAssocID="{3E83E951-8A57-1D42-8014-05C2744BFADF}" presName="hierRoot2" presStyleCnt="0">
        <dgm:presLayoutVars>
          <dgm:hierBranch val="init"/>
        </dgm:presLayoutVars>
      </dgm:prSet>
      <dgm:spPr/>
    </dgm:pt>
    <dgm:pt modelId="{39BC0B8C-E0C6-994E-A60E-4F03027DDC35}" type="pres">
      <dgm:prSet presAssocID="{3E83E951-8A57-1D42-8014-05C2744BFADF}" presName="rootComposite" presStyleCnt="0"/>
      <dgm:spPr/>
    </dgm:pt>
    <dgm:pt modelId="{B588A0C4-2648-064E-919C-A29258937C9D}" type="pres">
      <dgm:prSet presAssocID="{3E83E951-8A57-1D42-8014-05C2744BFADF}" presName="rootText" presStyleLbl="node2" presStyleIdx="5" presStyleCnt="9">
        <dgm:presLayoutVars>
          <dgm:chPref val="3"/>
        </dgm:presLayoutVars>
      </dgm:prSet>
      <dgm:spPr/>
    </dgm:pt>
    <dgm:pt modelId="{01609304-2552-ED45-9596-EF54BE26DD7E}" type="pres">
      <dgm:prSet presAssocID="{3E83E951-8A57-1D42-8014-05C2744BFADF}" presName="rootConnector" presStyleLbl="node2" presStyleIdx="5" presStyleCnt="9"/>
      <dgm:spPr/>
    </dgm:pt>
    <dgm:pt modelId="{8CA5E661-878D-3140-9EBD-069BF972977A}" type="pres">
      <dgm:prSet presAssocID="{3E83E951-8A57-1D42-8014-05C2744BFADF}" presName="hierChild4" presStyleCnt="0"/>
      <dgm:spPr/>
    </dgm:pt>
    <dgm:pt modelId="{D81923B1-B2C5-5647-B814-010A143D8B9B}" type="pres">
      <dgm:prSet presAssocID="{3E83E951-8A57-1D42-8014-05C2744BFADF}" presName="hierChild5" presStyleCnt="0"/>
      <dgm:spPr/>
    </dgm:pt>
    <dgm:pt modelId="{D318C644-F6F3-4C4E-B8D5-EB3E2BC6AED7}" type="pres">
      <dgm:prSet presAssocID="{7FC37BFE-5DE9-9C4E-AFD1-063DAFD22087}" presName="Name64" presStyleLbl="parChTrans1D2" presStyleIdx="6" presStyleCnt="9"/>
      <dgm:spPr/>
    </dgm:pt>
    <dgm:pt modelId="{9B691CDD-0DC4-4149-A7AF-B9F41961FED2}" type="pres">
      <dgm:prSet presAssocID="{9FAA9E2D-612D-5A40-9D1A-46E213180B21}" presName="hierRoot2" presStyleCnt="0">
        <dgm:presLayoutVars>
          <dgm:hierBranch val="init"/>
        </dgm:presLayoutVars>
      </dgm:prSet>
      <dgm:spPr/>
    </dgm:pt>
    <dgm:pt modelId="{4A7A8E3C-8759-2344-8F8A-18637CCBD1EB}" type="pres">
      <dgm:prSet presAssocID="{9FAA9E2D-612D-5A40-9D1A-46E213180B21}" presName="rootComposite" presStyleCnt="0"/>
      <dgm:spPr/>
    </dgm:pt>
    <dgm:pt modelId="{79CA8CBE-EF24-5548-9ED9-11684E28E9E9}" type="pres">
      <dgm:prSet presAssocID="{9FAA9E2D-612D-5A40-9D1A-46E213180B21}" presName="rootText" presStyleLbl="node2" presStyleIdx="6" presStyleCnt="9">
        <dgm:presLayoutVars>
          <dgm:chPref val="3"/>
        </dgm:presLayoutVars>
      </dgm:prSet>
      <dgm:spPr/>
    </dgm:pt>
    <dgm:pt modelId="{2541EF95-CD7D-A84E-B74C-0EE687A59494}" type="pres">
      <dgm:prSet presAssocID="{9FAA9E2D-612D-5A40-9D1A-46E213180B21}" presName="rootConnector" presStyleLbl="node2" presStyleIdx="6" presStyleCnt="9"/>
      <dgm:spPr/>
    </dgm:pt>
    <dgm:pt modelId="{18946F9F-AFDF-5D4E-A983-159E614A33A1}" type="pres">
      <dgm:prSet presAssocID="{9FAA9E2D-612D-5A40-9D1A-46E213180B21}" presName="hierChild4" presStyleCnt="0"/>
      <dgm:spPr/>
    </dgm:pt>
    <dgm:pt modelId="{F6BD34C8-4476-0849-8E73-FD62361461B9}" type="pres">
      <dgm:prSet presAssocID="{ACCE4294-DD74-DC47-BF5F-559B814E72F3}" presName="Name64" presStyleLbl="parChTrans1D3" presStyleIdx="0" presStyleCnt="2"/>
      <dgm:spPr/>
    </dgm:pt>
    <dgm:pt modelId="{925E7833-FB24-3A44-A4DD-0D72A3FA5B59}" type="pres">
      <dgm:prSet presAssocID="{489C5FA4-BB16-7F4D-B110-7977E47335B5}" presName="hierRoot2" presStyleCnt="0">
        <dgm:presLayoutVars>
          <dgm:hierBranch val="init"/>
        </dgm:presLayoutVars>
      </dgm:prSet>
      <dgm:spPr/>
    </dgm:pt>
    <dgm:pt modelId="{3E4AF3C3-833D-7947-86F1-689679F6A481}" type="pres">
      <dgm:prSet presAssocID="{489C5FA4-BB16-7F4D-B110-7977E47335B5}" presName="rootComposite" presStyleCnt="0"/>
      <dgm:spPr/>
    </dgm:pt>
    <dgm:pt modelId="{F0490598-B026-E649-861F-438716F1D831}" type="pres">
      <dgm:prSet presAssocID="{489C5FA4-BB16-7F4D-B110-7977E47335B5}" presName="rootText" presStyleLbl="node3" presStyleIdx="0" presStyleCnt="2">
        <dgm:presLayoutVars>
          <dgm:chPref val="3"/>
        </dgm:presLayoutVars>
      </dgm:prSet>
      <dgm:spPr/>
    </dgm:pt>
    <dgm:pt modelId="{1A50727A-1A53-084D-A788-A981E4ADFDA6}" type="pres">
      <dgm:prSet presAssocID="{489C5FA4-BB16-7F4D-B110-7977E47335B5}" presName="rootConnector" presStyleLbl="node3" presStyleIdx="0" presStyleCnt="2"/>
      <dgm:spPr/>
    </dgm:pt>
    <dgm:pt modelId="{994AF5E2-7750-3146-A457-B08E5314B434}" type="pres">
      <dgm:prSet presAssocID="{489C5FA4-BB16-7F4D-B110-7977E47335B5}" presName="hierChild4" presStyleCnt="0"/>
      <dgm:spPr/>
    </dgm:pt>
    <dgm:pt modelId="{EABC90C7-D7AE-A243-ADD7-A6BC906BAF03}" type="pres">
      <dgm:prSet presAssocID="{489C5FA4-BB16-7F4D-B110-7977E47335B5}" presName="hierChild5" presStyleCnt="0"/>
      <dgm:spPr/>
    </dgm:pt>
    <dgm:pt modelId="{E70A53D6-C946-F24F-837C-9831902AEC17}" type="pres">
      <dgm:prSet presAssocID="{4935866C-01D0-514D-B46F-459E4B1ACE7C}" presName="Name64" presStyleLbl="parChTrans1D3" presStyleIdx="1" presStyleCnt="2"/>
      <dgm:spPr/>
    </dgm:pt>
    <dgm:pt modelId="{20BE7BE1-990B-A245-8BDC-DA82752858D6}" type="pres">
      <dgm:prSet presAssocID="{D4F348A8-0BED-A347-A143-9BDFAD73A1FF}" presName="hierRoot2" presStyleCnt="0">
        <dgm:presLayoutVars>
          <dgm:hierBranch val="init"/>
        </dgm:presLayoutVars>
      </dgm:prSet>
      <dgm:spPr/>
    </dgm:pt>
    <dgm:pt modelId="{2C7652FB-A46A-644A-8B76-09B8DEC84CBE}" type="pres">
      <dgm:prSet presAssocID="{D4F348A8-0BED-A347-A143-9BDFAD73A1FF}" presName="rootComposite" presStyleCnt="0"/>
      <dgm:spPr/>
    </dgm:pt>
    <dgm:pt modelId="{B13F2836-7C6D-BE43-9201-7E32A5B1A68B}" type="pres">
      <dgm:prSet presAssocID="{D4F348A8-0BED-A347-A143-9BDFAD73A1FF}" presName="rootText" presStyleLbl="node3" presStyleIdx="1" presStyleCnt="2">
        <dgm:presLayoutVars>
          <dgm:chPref val="3"/>
        </dgm:presLayoutVars>
      </dgm:prSet>
      <dgm:spPr/>
    </dgm:pt>
    <dgm:pt modelId="{759B3E6D-9356-DB4C-B128-1EE633A144C3}" type="pres">
      <dgm:prSet presAssocID="{D4F348A8-0BED-A347-A143-9BDFAD73A1FF}" presName="rootConnector" presStyleLbl="node3" presStyleIdx="1" presStyleCnt="2"/>
      <dgm:spPr/>
    </dgm:pt>
    <dgm:pt modelId="{43047578-E0EF-B74B-8967-7F088BDF4149}" type="pres">
      <dgm:prSet presAssocID="{D4F348A8-0BED-A347-A143-9BDFAD73A1FF}" presName="hierChild4" presStyleCnt="0"/>
      <dgm:spPr/>
    </dgm:pt>
    <dgm:pt modelId="{2A2896E8-155D-7A46-B449-9F240A2006C9}" type="pres">
      <dgm:prSet presAssocID="{D4F348A8-0BED-A347-A143-9BDFAD73A1FF}" presName="hierChild5" presStyleCnt="0"/>
      <dgm:spPr/>
    </dgm:pt>
    <dgm:pt modelId="{7A86203B-C882-EE49-9118-6CA8003ECB36}" type="pres">
      <dgm:prSet presAssocID="{9FAA9E2D-612D-5A40-9D1A-46E213180B21}" presName="hierChild5" presStyleCnt="0"/>
      <dgm:spPr/>
    </dgm:pt>
    <dgm:pt modelId="{46416D42-0884-D447-B39A-6897E67A389B}" type="pres">
      <dgm:prSet presAssocID="{5DB6169A-EEA7-8A48-B219-4B8CC17AFE19}" presName="Name64" presStyleLbl="parChTrans1D2" presStyleIdx="7" presStyleCnt="9"/>
      <dgm:spPr/>
    </dgm:pt>
    <dgm:pt modelId="{36E9365D-187B-B444-8ADE-2AD1C4C6D7A4}" type="pres">
      <dgm:prSet presAssocID="{29D6A3C1-F671-3943-9A95-B3CBF4CE5707}" presName="hierRoot2" presStyleCnt="0">
        <dgm:presLayoutVars>
          <dgm:hierBranch val="init"/>
        </dgm:presLayoutVars>
      </dgm:prSet>
      <dgm:spPr/>
    </dgm:pt>
    <dgm:pt modelId="{FAF95924-8021-B14B-9342-2FB5364B96D9}" type="pres">
      <dgm:prSet presAssocID="{29D6A3C1-F671-3943-9A95-B3CBF4CE5707}" presName="rootComposite" presStyleCnt="0"/>
      <dgm:spPr/>
    </dgm:pt>
    <dgm:pt modelId="{79ED6464-2B13-C24F-836C-30FBBA91E97E}" type="pres">
      <dgm:prSet presAssocID="{29D6A3C1-F671-3943-9A95-B3CBF4CE5707}" presName="rootText" presStyleLbl="node2" presStyleIdx="7" presStyleCnt="9">
        <dgm:presLayoutVars>
          <dgm:chPref val="3"/>
        </dgm:presLayoutVars>
      </dgm:prSet>
      <dgm:spPr/>
    </dgm:pt>
    <dgm:pt modelId="{DBB657D1-BAE0-1A48-A375-8A7BE01C9A81}" type="pres">
      <dgm:prSet presAssocID="{29D6A3C1-F671-3943-9A95-B3CBF4CE5707}" presName="rootConnector" presStyleLbl="node2" presStyleIdx="7" presStyleCnt="9"/>
      <dgm:spPr/>
    </dgm:pt>
    <dgm:pt modelId="{9A5DB202-F7FC-6F4B-AD75-E30B225FFA21}" type="pres">
      <dgm:prSet presAssocID="{29D6A3C1-F671-3943-9A95-B3CBF4CE5707}" presName="hierChild4" presStyleCnt="0"/>
      <dgm:spPr/>
    </dgm:pt>
    <dgm:pt modelId="{3CC62885-BC88-9442-971A-28B93EDAB1FB}" type="pres">
      <dgm:prSet presAssocID="{29D6A3C1-F671-3943-9A95-B3CBF4CE5707}" presName="hierChild5" presStyleCnt="0"/>
      <dgm:spPr/>
    </dgm:pt>
    <dgm:pt modelId="{18645229-794C-004D-A1C3-80B20FE346D6}" type="pres">
      <dgm:prSet presAssocID="{852BC08E-A301-9844-B60F-3025E9932631}" presName="Name64" presStyleLbl="parChTrans1D2" presStyleIdx="8" presStyleCnt="9"/>
      <dgm:spPr/>
    </dgm:pt>
    <dgm:pt modelId="{72B6B93B-CAF4-7F40-8D36-3B630C935673}" type="pres">
      <dgm:prSet presAssocID="{3CCEBE12-34B3-8D44-BF9F-71F65C0DC031}" presName="hierRoot2" presStyleCnt="0">
        <dgm:presLayoutVars>
          <dgm:hierBranch val="init"/>
        </dgm:presLayoutVars>
      </dgm:prSet>
      <dgm:spPr/>
    </dgm:pt>
    <dgm:pt modelId="{6297D8A5-9D8F-EF4A-9460-3EBA6A5CB15A}" type="pres">
      <dgm:prSet presAssocID="{3CCEBE12-34B3-8D44-BF9F-71F65C0DC031}" presName="rootComposite" presStyleCnt="0"/>
      <dgm:spPr/>
    </dgm:pt>
    <dgm:pt modelId="{70977390-730E-F949-940A-2D0B59380857}" type="pres">
      <dgm:prSet presAssocID="{3CCEBE12-34B3-8D44-BF9F-71F65C0DC031}" presName="rootText" presStyleLbl="node2" presStyleIdx="8" presStyleCnt="9">
        <dgm:presLayoutVars>
          <dgm:chPref val="3"/>
        </dgm:presLayoutVars>
      </dgm:prSet>
      <dgm:spPr/>
    </dgm:pt>
    <dgm:pt modelId="{4DB3980C-0255-4849-9D19-CBED43BF9F43}" type="pres">
      <dgm:prSet presAssocID="{3CCEBE12-34B3-8D44-BF9F-71F65C0DC031}" presName="rootConnector" presStyleLbl="node2" presStyleIdx="8" presStyleCnt="9"/>
      <dgm:spPr/>
    </dgm:pt>
    <dgm:pt modelId="{FA6E732F-D039-C84B-B901-BD044096C9C2}" type="pres">
      <dgm:prSet presAssocID="{3CCEBE12-34B3-8D44-BF9F-71F65C0DC031}" presName="hierChild4" presStyleCnt="0"/>
      <dgm:spPr/>
    </dgm:pt>
    <dgm:pt modelId="{A72B18A0-1ABA-DE45-BFD6-16A699BBEE0A}" type="pres">
      <dgm:prSet presAssocID="{3CCEBE12-34B3-8D44-BF9F-71F65C0DC031}" presName="hierChild5" presStyleCnt="0"/>
      <dgm:spPr/>
    </dgm:pt>
    <dgm:pt modelId="{A19E0454-B00A-1C49-80CC-A8174950C984}" type="pres">
      <dgm:prSet presAssocID="{153546E0-3490-054F-849C-4D8E7F40F9AC}" presName="hierChild3" presStyleCnt="0"/>
      <dgm:spPr/>
    </dgm:pt>
  </dgm:ptLst>
  <dgm:cxnLst>
    <dgm:cxn modelId="{8D0A6114-E5C6-1642-907C-9D2E0411982F}" srcId="{153546E0-3490-054F-849C-4D8E7F40F9AC}" destId="{3CCEBE12-34B3-8D44-BF9F-71F65C0DC031}" srcOrd="8" destOrd="0" parTransId="{852BC08E-A301-9844-B60F-3025E9932631}" sibTransId="{2BE93E6D-7397-6746-B225-9702B72D7594}"/>
    <dgm:cxn modelId="{14136D20-10BE-6F42-8E3C-152B24CCE218}" srcId="{9FAA9E2D-612D-5A40-9D1A-46E213180B21}" destId="{D4F348A8-0BED-A347-A143-9BDFAD73A1FF}" srcOrd="1" destOrd="0" parTransId="{4935866C-01D0-514D-B46F-459E4B1ACE7C}" sibTransId="{A50DD61E-F023-7E42-B04B-DB3F0603EA17}"/>
    <dgm:cxn modelId="{760AA024-3DB7-C143-8D72-FD7B87140DA1}" srcId="{153546E0-3490-054F-849C-4D8E7F40F9AC}" destId="{92703CDA-4C94-3E4F-8B2E-F46E14AA2FF2}" srcOrd="4" destOrd="0" parTransId="{3845B904-0561-0049-BF78-F2B06C3E47EB}" sibTransId="{D3DEC5FD-D4CB-FA46-840F-03D6974508A5}"/>
    <dgm:cxn modelId="{6CEC512A-FD67-8048-80D2-2DDDCE19DAE4}" srcId="{9FAA9E2D-612D-5A40-9D1A-46E213180B21}" destId="{489C5FA4-BB16-7F4D-B110-7977E47335B5}" srcOrd="0" destOrd="0" parTransId="{ACCE4294-DD74-DC47-BF5F-559B814E72F3}" sibTransId="{B89ABE40-F217-CB4D-A458-D2B9E0D7D852}"/>
    <dgm:cxn modelId="{D69C092D-821B-2543-919F-431E37F9724D}" srcId="{3AFC22A0-EA30-2744-83DC-22EDEE9739FE}" destId="{153546E0-3490-054F-849C-4D8E7F40F9AC}" srcOrd="0" destOrd="0" parTransId="{852264B5-88B5-E646-84CD-F4A5338E4B98}" sibTransId="{23536B86-35C5-1345-B51E-5840F1DB093C}"/>
    <dgm:cxn modelId="{ADEDA034-4EB5-7746-9C58-5256ED73BF87}" type="presOf" srcId="{D4F348A8-0BED-A347-A143-9BDFAD73A1FF}" destId="{759B3E6D-9356-DB4C-B128-1EE633A144C3}" srcOrd="1" destOrd="0" presId="urn:microsoft.com/office/officeart/2009/3/layout/HorizontalOrganizationChart"/>
    <dgm:cxn modelId="{83D00D3A-3136-D141-BC98-690D0A41F6E2}" type="presOf" srcId="{E8BDF334-A533-D642-B8F1-19F376A08EF0}" destId="{A887A7AC-EDAC-2F46-93F7-155DA1233AD6}" srcOrd="0" destOrd="0" presId="urn:microsoft.com/office/officeart/2009/3/layout/HorizontalOrganizationChart"/>
    <dgm:cxn modelId="{AB991C5D-C310-7042-B792-79B1A9483EDD}" type="presOf" srcId="{FF949A33-2418-CA45-B875-8755F5339D01}" destId="{699F8DD7-7177-2E45-833E-F4DBA93E05F1}" srcOrd="0" destOrd="0" presId="urn:microsoft.com/office/officeart/2009/3/layout/HorizontalOrganizationChart"/>
    <dgm:cxn modelId="{3BA1FA5D-3A22-A440-B68A-0A1FD31314F6}" type="presOf" srcId="{92703CDA-4C94-3E4F-8B2E-F46E14AA2FF2}" destId="{3302CFCE-7FF5-5844-9AC6-B5119110B97B}" srcOrd="1" destOrd="0" presId="urn:microsoft.com/office/officeart/2009/3/layout/HorizontalOrganizationChart"/>
    <dgm:cxn modelId="{7D9BAA41-E5EC-AF42-A853-F3183140D80E}" type="presOf" srcId="{489C5FA4-BB16-7F4D-B110-7977E47335B5}" destId="{1A50727A-1A53-084D-A788-A981E4ADFDA6}" srcOrd="1" destOrd="0" presId="urn:microsoft.com/office/officeart/2009/3/layout/HorizontalOrganizationChart"/>
    <dgm:cxn modelId="{761BDA66-CF20-914E-AAB3-57088CEC4F95}" type="presOf" srcId="{7FC37BFE-5DE9-9C4E-AFD1-063DAFD22087}" destId="{D318C644-F6F3-4C4E-B8D5-EB3E2BC6AED7}" srcOrd="0" destOrd="0" presId="urn:microsoft.com/office/officeart/2009/3/layout/HorizontalOrganizationChart"/>
    <dgm:cxn modelId="{AD35476E-2AEE-CE42-A27D-6C6D95C867C4}" srcId="{153546E0-3490-054F-849C-4D8E7F40F9AC}" destId="{29D6A3C1-F671-3943-9A95-B3CBF4CE5707}" srcOrd="7" destOrd="0" parTransId="{5DB6169A-EEA7-8A48-B219-4B8CC17AFE19}" sibTransId="{9101B7F7-6049-0A46-8839-24606113BCB2}"/>
    <dgm:cxn modelId="{4466F76F-931C-6944-9E56-80834AD940A6}" type="presOf" srcId="{526E8368-2F9F-074A-8A1E-FF4998D0F1C4}" destId="{693F533D-A577-C443-9BDD-EC20C54CF7CF}" srcOrd="0" destOrd="0" presId="urn:microsoft.com/office/officeart/2009/3/layout/HorizontalOrganizationChart"/>
    <dgm:cxn modelId="{0BB17B73-D2D1-F64A-BB03-16E121E2373F}" type="presOf" srcId="{29D6A3C1-F671-3943-9A95-B3CBF4CE5707}" destId="{DBB657D1-BAE0-1A48-A375-8A7BE01C9A81}" srcOrd="1" destOrd="0" presId="urn:microsoft.com/office/officeart/2009/3/layout/HorizontalOrganizationChart"/>
    <dgm:cxn modelId="{DAD3B17E-DBFD-8843-BCFF-A662639C454E}" type="presOf" srcId="{D4F348A8-0BED-A347-A143-9BDFAD73A1FF}" destId="{B13F2836-7C6D-BE43-9201-7E32A5B1A68B}" srcOrd="0" destOrd="0" presId="urn:microsoft.com/office/officeart/2009/3/layout/HorizontalOrganizationChart"/>
    <dgm:cxn modelId="{C381CB7E-63C2-8944-9DED-5F67B84C434B}" type="presOf" srcId="{D3F3420D-5D24-664E-8E66-5517D176FB1D}" destId="{02EA0B59-0086-E84B-8E64-ED4BC9D03C03}" srcOrd="1" destOrd="0" presId="urn:microsoft.com/office/officeart/2009/3/layout/HorizontalOrganizationChart"/>
    <dgm:cxn modelId="{8250587F-1CEC-1A47-9FC9-CE0FA4810266}" type="presOf" srcId="{3CCEBE12-34B3-8D44-BF9F-71F65C0DC031}" destId="{70977390-730E-F949-940A-2D0B59380857}" srcOrd="0" destOrd="0" presId="urn:microsoft.com/office/officeart/2009/3/layout/HorizontalOrganizationChart"/>
    <dgm:cxn modelId="{537AEE82-A764-F340-86BB-7B790D6C2363}" type="presOf" srcId="{5DB6169A-EEA7-8A48-B219-4B8CC17AFE19}" destId="{46416D42-0884-D447-B39A-6897E67A389B}" srcOrd="0" destOrd="0" presId="urn:microsoft.com/office/officeart/2009/3/layout/HorizontalOrganizationChart"/>
    <dgm:cxn modelId="{30D2FA92-5092-644F-BD88-7422DC55EFB8}" type="presOf" srcId="{9CC0B900-4B49-0A43-B54E-11AE06833C45}" destId="{5025B89C-BFAC-1749-BA34-E9E89FC4E403}" srcOrd="0" destOrd="0" presId="urn:microsoft.com/office/officeart/2009/3/layout/HorizontalOrganizationChart"/>
    <dgm:cxn modelId="{B8B06494-E1D0-F448-81C8-81AAA1A5A193}" type="presOf" srcId="{489C5FA4-BB16-7F4D-B110-7977E47335B5}" destId="{F0490598-B026-E649-861F-438716F1D831}" srcOrd="0" destOrd="0" presId="urn:microsoft.com/office/officeart/2009/3/layout/HorizontalOrganizationChart"/>
    <dgm:cxn modelId="{6BA73598-CD46-3845-BCEF-6390A41383B3}" type="presOf" srcId="{827048D1-0C64-9E4A-977C-9A28CF006D20}" destId="{2EB48850-F88E-4446-A5F1-E491055A7AED}" srcOrd="0" destOrd="0" presId="urn:microsoft.com/office/officeart/2009/3/layout/HorizontalOrganizationChart"/>
    <dgm:cxn modelId="{D227C19C-8A71-5840-8F21-E330187B21CF}" type="presOf" srcId="{4935866C-01D0-514D-B46F-459E4B1ACE7C}" destId="{E70A53D6-C946-F24F-837C-9831902AEC17}" srcOrd="0" destOrd="0" presId="urn:microsoft.com/office/officeart/2009/3/layout/HorizontalOrganizationChart"/>
    <dgm:cxn modelId="{A2ADFC9C-2134-6F47-9B8F-3F01B8397EE8}" type="presOf" srcId="{9FAA9E2D-612D-5A40-9D1A-46E213180B21}" destId="{2541EF95-CD7D-A84E-B74C-0EE687A59494}" srcOrd="1" destOrd="0" presId="urn:microsoft.com/office/officeart/2009/3/layout/HorizontalOrganizationChart"/>
    <dgm:cxn modelId="{C4F332A0-6CEF-E14B-8390-0055B5111F86}" srcId="{153546E0-3490-054F-849C-4D8E7F40F9AC}" destId="{3E83E951-8A57-1D42-8014-05C2744BFADF}" srcOrd="5" destOrd="0" parTransId="{E8BDF334-A533-D642-B8F1-19F376A08EF0}" sibTransId="{94C35535-57D7-204D-807F-6CAB93A5C3C4}"/>
    <dgm:cxn modelId="{B7F794A1-90A9-1B40-A0AB-9B21F863C9D5}" type="presOf" srcId="{3AFC22A0-EA30-2744-83DC-22EDEE9739FE}" destId="{3EADF818-BD1D-B049-9499-E837ABC3F620}" srcOrd="0" destOrd="0" presId="urn:microsoft.com/office/officeart/2009/3/layout/HorizontalOrganizationChart"/>
    <dgm:cxn modelId="{0BCC0FA3-2C2C-0246-9361-69F2DD770A7C}" srcId="{153546E0-3490-054F-849C-4D8E7F40F9AC}" destId="{ABEBEA11-C82A-3342-8246-4713E46D067A}" srcOrd="1" destOrd="0" parTransId="{9CC0B900-4B49-0A43-B54E-11AE06833C45}" sibTransId="{54DB5A57-8AB8-1F44-A6B1-343B45697ED8}"/>
    <dgm:cxn modelId="{A91438A4-CCB8-9546-9F43-FBBB659D7531}" type="presOf" srcId="{3E83E951-8A57-1D42-8014-05C2744BFADF}" destId="{B588A0C4-2648-064E-919C-A29258937C9D}" srcOrd="0" destOrd="0" presId="urn:microsoft.com/office/officeart/2009/3/layout/HorizontalOrganizationChart"/>
    <dgm:cxn modelId="{6E2323A5-3A33-AD49-B1F9-2CB393C4EC80}" type="presOf" srcId="{526E8368-2F9F-074A-8A1E-FF4998D0F1C4}" destId="{C900733E-715B-0D4B-9035-370EED05E2A6}" srcOrd="1" destOrd="0" presId="urn:microsoft.com/office/officeart/2009/3/layout/HorizontalOrganizationChart"/>
    <dgm:cxn modelId="{04CD30A7-741F-AB42-A494-65DDCCD201BC}" srcId="{153546E0-3490-054F-849C-4D8E7F40F9AC}" destId="{526E8368-2F9F-074A-8A1E-FF4998D0F1C4}" srcOrd="0" destOrd="0" parTransId="{827048D1-0C64-9E4A-977C-9A28CF006D20}" sibTransId="{7629C966-B963-5743-8C14-E2302A6419D5}"/>
    <dgm:cxn modelId="{0102D8A8-1EE1-4F48-86A7-8467A43F4EBE}" type="presOf" srcId="{3845B904-0561-0049-BF78-F2B06C3E47EB}" destId="{1B76CE1D-1986-3C42-8928-376342AF5685}" srcOrd="0" destOrd="0" presId="urn:microsoft.com/office/officeart/2009/3/layout/HorizontalOrganizationChart"/>
    <dgm:cxn modelId="{1A0ACAB1-38D0-474B-9093-BF13539FAF4C}" type="presOf" srcId="{3CCEBE12-34B3-8D44-BF9F-71F65C0DC031}" destId="{4DB3980C-0255-4849-9D19-CBED43BF9F43}" srcOrd="1" destOrd="0" presId="urn:microsoft.com/office/officeart/2009/3/layout/HorizontalOrganizationChart"/>
    <dgm:cxn modelId="{1C0468B3-28FC-0440-BE78-B94DB7D8C92F}" type="presOf" srcId="{852BC08E-A301-9844-B60F-3025E9932631}" destId="{18645229-794C-004D-A1C3-80B20FE346D6}" srcOrd="0" destOrd="0" presId="urn:microsoft.com/office/officeart/2009/3/layout/HorizontalOrganizationChart"/>
    <dgm:cxn modelId="{E3BB74B9-069C-A94E-B57D-2B7BF899412A}" type="presOf" srcId="{153546E0-3490-054F-849C-4D8E7F40F9AC}" destId="{88ABABA2-3722-EC40-B021-7572C797B7EE}" srcOrd="1" destOrd="0" presId="urn:microsoft.com/office/officeart/2009/3/layout/HorizontalOrganizationChart"/>
    <dgm:cxn modelId="{5AF799BB-62C9-F141-BFB0-94D3A3FC9BB5}" type="presOf" srcId="{7A0049F3-FA04-6C4B-B33F-043E7A980B20}" destId="{4750112A-3894-5D41-A379-CEBF565E64F6}" srcOrd="1" destOrd="0" presId="urn:microsoft.com/office/officeart/2009/3/layout/HorizontalOrganizationChart"/>
    <dgm:cxn modelId="{AF5C46C3-00F5-124D-81F7-769115BADFC0}" type="presOf" srcId="{29D6A3C1-F671-3943-9A95-B3CBF4CE5707}" destId="{79ED6464-2B13-C24F-836C-30FBBA91E97E}" srcOrd="0" destOrd="0" presId="urn:microsoft.com/office/officeart/2009/3/layout/HorizontalOrganizationChart"/>
    <dgm:cxn modelId="{E517BECD-156F-634A-BA33-3654CCDE61B3}" type="presOf" srcId="{3E83E951-8A57-1D42-8014-05C2744BFADF}" destId="{01609304-2552-ED45-9596-EF54BE26DD7E}" srcOrd="1" destOrd="0" presId="urn:microsoft.com/office/officeart/2009/3/layout/HorizontalOrganizationChart"/>
    <dgm:cxn modelId="{DB1952D1-138E-CE4D-BC2F-DBCEBAF37239}" srcId="{153546E0-3490-054F-849C-4D8E7F40F9AC}" destId="{7A0049F3-FA04-6C4B-B33F-043E7A980B20}" srcOrd="2" destOrd="0" parTransId="{EE9CBBF9-B25D-144C-B565-3B6AF4D70FB2}" sibTransId="{E541CE3D-B0BE-F94C-B75B-CF3BEC7FB946}"/>
    <dgm:cxn modelId="{002C0CD3-D08A-A849-8A0E-FA943A441945}" type="presOf" srcId="{7A0049F3-FA04-6C4B-B33F-043E7A980B20}" destId="{6D78F15A-B86A-5D47-9B8E-74E5AABA5DEE}" srcOrd="0" destOrd="0" presId="urn:microsoft.com/office/officeart/2009/3/layout/HorizontalOrganizationChart"/>
    <dgm:cxn modelId="{6AB2D1D5-1C73-074C-A668-06C301CA8EBA}" type="presOf" srcId="{ABEBEA11-C82A-3342-8246-4713E46D067A}" destId="{04F0C9FB-1872-FD45-919D-CD509CC7ACD2}" srcOrd="0" destOrd="0" presId="urn:microsoft.com/office/officeart/2009/3/layout/HorizontalOrganizationChart"/>
    <dgm:cxn modelId="{68CC22DA-806E-FB4F-8868-C8634F5E4D3B}" type="presOf" srcId="{92703CDA-4C94-3E4F-8B2E-F46E14AA2FF2}" destId="{F0A59A47-9F2A-4346-96DA-3115F6E50019}" srcOrd="0" destOrd="0" presId="urn:microsoft.com/office/officeart/2009/3/layout/HorizontalOrganizationChart"/>
    <dgm:cxn modelId="{C534A0DC-9FAA-F543-9C18-F69FD2D89A8B}" type="presOf" srcId="{D3F3420D-5D24-664E-8E66-5517D176FB1D}" destId="{52359433-2B0C-624E-8316-58A884DF6397}" srcOrd="0" destOrd="0" presId="urn:microsoft.com/office/officeart/2009/3/layout/HorizontalOrganizationChart"/>
    <dgm:cxn modelId="{CEEE0CE1-562D-B943-BE06-433F90F4A3D3}" type="presOf" srcId="{9FAA9E2D-612D-5A40-9D1A-46E213180B21}" destId="{79CA8CBE-EF24-5548-9ED9-11684E28E9E9}" srcOrd="0" destOrd="0" presId="urn:microsoft.com/office/officeart/2009/3/layout/HorizontalOrganizationChart"/>
    <dgm:cxn modelId="{794CDAE2-B0A3-0F4D-AE24-FF25A6747C3B}" type="presOf" srcId="{ACCE4294-DD74-DC47-BF5F-559B814E72F3}" destId="{F6BD34C8-4476-0849-8E73-FD62361461B9}" srcOrd="0" destOrd="0" presId="urn:microsoft.com/office/officeart/2009/3/layout/HorizontalOrganizationChart"/>
    <dgm:cxn modelId="{84611FE3-9FF1-6C43-9806-1CD1385BCB7E}" type="presOf" srcId="{153546E0-3490-054F-849C-4D8E7F40F9AC}" destId="{DAF435B8-AC54-A04A-8555-5BB0F3161BCB}" srcOrd="0" destOrd="0" presId="urn:microsoft.com/office/officeart/2009/3/layout/HorizontalOrganizationChart"/>
    <dgm:cxn modelId="{4B40FBE6-E7A5-7F44-A1D5-2E0332F4CC96}" srcId="{153546E0-3490-054F-849C-4D8E7F40F9AC}" destId="{9FAA9E2D-612D-5A40-9D1A-46E213180B21}" srcOrd="6" destOrd="0" parTransId="{7FC37BFE-5DE9-9C4E-AFD1-063DAFD22087}" sibTransId="{8A2B82F5-4386-594E-A758-3DB06AF6FBDA}"/>
    <dgm:cxn modelId="{3E2186F0-A934-1645-BBB3-052067C35433}" srcId="{153546E0-3490-054F-849C-4D8E7F40F9AC}" destId="{D3F3420D-5D24-664E-8E66-5517D176FB1D}" srcOrd="3" destOrd="0" parTransId="{FF949A33-2418-CA45-B875-8755F5339D01}" sibTransId="{CC7C3AE3-A0F4-AF4F-8C09-562962917790}"/>
    <dgm:cxn modelId="{81356DF3-ADED-7648-86C5-E112484A05C1}" type="presOf" srcId="{EE9CBBF9-B25D-144C-B565-3B6AF4D70FB2}" destId="{91A6EDE1-DEC0-964A-9560-6EF604D22C5C}" srcOrd="0" destOrd="0" presId="urn:microsoft.com/office/officeart/2009/3/layout/HorizontalOrganizationChart"/>
    <dgm:cxn modelId="{C29FF7FC-8490-3F42-A39D-5CED378868A2}" type="presOf" srcId="{ABEBEA11-C82A-3342-8246-4713E46D067A}" destId="{4D714A61-ECC9-B449-937C-47DE61936903}" srcOrd="1" destOrd="0" presId="urn:microsoft.com/office/officeart/2009/3/layout/HorizontalOrganizationChart"/>
    <dgm:cxn modelId="{356E6E15-06DE-C646-A3D4-7484498CC161}" type="presParOf" srcId="{3EADF818-BD1D-B049-9499-E837ABC3F620}" destId="{D6477084-FA43-4A40-8DD1-3D425BC18EA4}" srcOrd="0" destOrd="0" presId="urn:microsoft.com/office/officeart/2009/3/layout/HorizontalOrganizationChart"/>
    <dgm:cxn modelId="{D9441721-65BA-F64B-B3F1-A0CB9444C356}" type="presParOf" srcId="{D6477084-FA43-4A40-8DD1-3D425BC18EA4}" destId="{81FD91E7-153F-E340-AFDA-227DAC33D025}" srcOrd="0" destOrd="0" presId="urn:microsoft.com/office/officeart/2009/3/layout/HorizontalOrganizationChart"/>
    <dgm:cxn modelId="{FDDCC384-9960-804C-8547-0838A839116D}" type="presParOf" srcId="{81FD91E7-153F-E340-AFDA-227DAC33D025}" destId="{DAF435B8-AC54-A04A-8555-5BB0F3161BCB}" srcOrd="0" destOrd="0" presId="urn:microsoft.com/office/officeart/2009/3/layout/HorizontalOrganizationChart"/>
    <dgm:cxn modelId="{D183FD5C-81FE-C248-8360-9214380CBBB0}" type="presParOf" srcId="{81FD91E7-153F-E340-AFDA-227DAC33D025}" destId="{88ABABA2-3722-EC40-B021-7572C797B7EE}" srcOrd="1" destOrd="0" presId="urn:microsoft.com/office/officeart/2009/3/layout/HorizontalOrganizationChart"/>
    <dgm:cxn modelId="{2A626747-C280-4D49-BFB3-A9BDD6714FDF}" type="presParOf" srcId="{D6477084-FA43-4A40-8DD1-3D425BC18EA4}" destId="{23F6E1D9-2C0C-804A-B29E-0E4ED44BE5CE}" srcOrd="1" destOrd="0" presId="urn:microsoft.com/office/officeart/2009/3/layout/HorizontalOrganizationChart"/>
    <dgm:cxn modelId="{39E0B222-B414-3D4D-B046-ADC5B2DDDB9A}" type="presParOf" srcId="{23F6E1D9-2C0C-804A-B29E-0E4ED44BE5CE}" destId="{2EB48850-F88E-4446-A5F1-E491055A7AED}" srcOrd="0" destOrd="0" presId="urn:microsoft.com/office/officeart/2009/3/layout/HorizontalOrganizationChart"/>
    <dgm:cxn modelId="{1993364F-F014-B942-BFC3-45FAB8B91AE6}" type="presParOf" srcId="{23F6E1D9-2C0C-804A-B29E-0E4ED44BE5CE}" destId="{B22F6E30-8BE1-6846-A11D-72A994426CDE}" srcOrd="1" destOrd="0" presId="urn:microsoft.com/office/officeart/2009/3/layout/HorizontalOrganizationChart"/>
    <dgm:cxn modelId="{E91E6A85-9DAF-3146-80BE-479D0392E139}" type="presParOf" srcId="{B22F6E30-8BE1-6846-A11D-72A994426CDE}" destId="{DE30CE67-9FB4-6742-B5E3-A80D7BA2862C}" srcOrd="0" destOrd="0" presId="urn:microsoft.com/office/officeart/2009/3/layout/HorizontalOrganizationChart"/>
    <dgm:cxn modelId="{8ADEF0A4-DB91-8E4D-B97E-46610EEDAD98}" type="presParOf" srcId="{DE30CE67-9FB4-6742-B5E3-A80D7BA2862C}" destId="{693F533D-A577-C443-9BDD-EC20C54CF7CF}" srcOrd="0" destOrd="0" presId="urn:microsoft.com/office/officeart/2009/3/layout/HorizontalOrganizationChart"/>
    <dgm:cxn modelId="{A1280EE3-0C98-394E-9EB2-A976F914A355}" type="presParOf" srcId="{DE30CE67-9FB4-6742-B5E3-A80D7BA2862C}" destId="{C900733E-715B-0D4B-9035-370EED05E2A6}" srcOrd="1" destOrd="0" presId="urn:microsoft.com/office/officeart/2009/3/layout/HorizontalOrganizationChart"/>
    <dgm:cxn modelId="{1ED5FD7C-D8DF-2644-8E48-DA58511BDAB1}" type="presParOf" srcId="{B22F6E30-8BE1-6846-A11D-72A994426CDE}" destId="{D07FFF6B-FDD2-C343-87B1-24188A0DF897}" srcOrd="1" destOrd="0" presId="urn:microsoft.com/office/officeart/2009/3/layout/HorizontalOrganizationChart"/>
    <dgm:cxn modelId="{69993112-AE7D-F14A-9990-60A814123740}" type="presParOf" srcId="{B22F6E30-8BE1-6846-A11D-72A994426CDE}" destId="{0DC65666-B14F-924E-BE18-244E4CB3C599}" srcOrd="2" destOrd="0" presId="urn:microsoft.com/office/officeart/2009/3/layout/HorizontalOrganizationChart"/>
    <dgm:cxn modelId="{E106B63F-1B5F-964B-A524-E0E89DE0996E}" type="presParOf" srcId="{23F6E1D9-2C0C-804A-B29E-0E4ED44BE5CE}" destId="{5025B89C-BFAC-1749-BA34-E9E89FC4E403}" srcOrd="2" destOrd="0" presId="urn:microsoft.com/office/officeart/2009/3/layout/HorizontalOrganizationChart"/>
    <dgm:cxn modelId="{34E986CD-2474-8D47-9828-CF0BA859E688}" type="presParOf" srcId="{23F6E1D9-2C0C-804A-B29E-0E4ED44BE5CE}" destId="{85DF342A-4C72-DD4B-83E0-F392438250E6}" srcOrd="3" destOrd="0" presId="urn:microsoft.com/office/officeart/2009/3/layout/HorizontalOrganizationChart"/>
    <dgm:cxn modelId="{81CE6AAD-406F-6C45-AB23-5241E4750DF6}" type="presParOf" srcId="{85DF342A-4C72-DD4B-83E0-F392438250E6}" destId="{4BE5DCA1-D133-7C46-ABB1-0D171A537DAA}" srcOrd="0" destOrd="0" presId="urn:microsoft.com/office/officeart/2009/3/layout/HorizontalOrganizationChart"/>
    <dgm:cxn modelId="{B4F3E452-6DD5-DB48-831A-72DF8E321EFE}" type="presParOf" srcId="{4BE5DCA1-D133-7C46-ABB1-0D171A537DAA}" destId="{04F0C9FB-1872-FD45-919D-CD509CC7ACD2}" srcOrd="0" destOrd="0" presId="urn:microsoft.com/office/officeart/2009/3/layout/HorizontalOrganizationChart"/>
    <dgm:cxn modelId="{24179580-4F5F-364C-A69B-6A58DBA13408}" type="presParOf" srcId="{4BE5DCA1-D133-7C46-ABB1-0D171A537DAA}" destId="{4D714A61-ECC9-B449-937C-47DE61936903}" srcOrd="1" destOrd="0" presId="urn:microsoft.com/office/officeart/2009/3/layout/HorizontalOrganizationChart"/>
    <dgm:cxn modelId="{C939D055-C27C-9244-8655-E591F7EA06B6}" type="presParOf" srcId="{85DF342A-4C72-DD4B-83E0-F392438250E6}" destId="{5525697B-7922-DC40-84C1-EBAA141A3678}" srcOrd="1" destOrd="0" presId="urn:microsoft.com/office/officeart/2009/3/layout/HorizontalOrganizationChart"/>
    <dgm:cxn modelId="{E3D6DF81-FC55-1644-AF90-A13CDC0D86D2}" type="presParOf" srcId="{85DF342A-4C72-DD4B-83E0-F392438250E6}" destId="{D11EEA38-CB94-B649-A521-E829724500A4}" srcOrd="2" destOrd="0" presId="urn:microsoft.com/office/officeart/2009/3/layout/HorizontalOrganizationChart"/>
    <dgm:cxn modelId="{F5B3C65F-CA8C-5445-B683-A6483D6E3EF7}" type="presParOf" srcId="{23F6E1D9-2C0C-804A-B29E-0E4ED44BE5CE}" destId="{91A6EDE1-DEC0-964A-9560-6EF604D22C5C}" srcOrd="4" destOrd="0" presId="urn:microsoft.com/office/officeart/2009/3/layout/HorizontalOrganizationChart"/>
    <dgm:cxn modelId="{D03B6A86-0AB6-594B-87F4-70397146E885}" type="presParOf" srcId="{23F6E1D9-2C0C-804A-B29E-0E4ED44BE5CE}" destId="{FA7542C5-FB48-0D4C-9912-6E21FF376F18}" srcOrd="5" destOrd="0" presId="urn:microsoft.com/office/officeart/2009/3/layout/HorizontalOrganizationChart"/>
    <dgm:cxn modelId="{193C3FCB-8BD5-2C4D-987A-A27526C6BBBC}" type="presParOf" srcId="{FA7542C5-FB48-0D4C-9912-6E21FF376F18}" destId="{915724A2-BA3A-F64D-87ED-E60C5A399B9F}" srcOrd="0" destOrd="0" presId="urn:microsoft.com/office/officeart/2009/3/layout/HorizontalOrganizationChart"/>
    <dgm:cxn modelId="{CEB5C22E-0ECA-F646-9F22-D23FCA975713}" type="presParOf" srcId="{915724A2-BA3A-F64D-87ED-E60C5A399B9F}" destId="{6D78F15A-B86A-5D47-9B8E-74E5AABA5DEE}" srcOrd="0" destOrd="0" presId="urn:microsoft.com/office/officeart/2009/3/layout/HorizontalOrganizationChart"/>
    <dgm:cxn modelId="{EAE33414-E2DA-0B4B-BFA8-FC5A07685C5A}" type="presParOf" srcId="{915724A2-BA3A-F64D-87ED-E60C5A399B9F}" destId="{4750112A-3894-5D41-A379-CEBF565E64F6}" srcOrd="1" destOrd="0" presId="urn:microsoft.com/office/officeart/2009/3/layout/HorizontalOrganizationChart"/>
    <dgm:cxn modelId="{5DDBCA65-9243-9145-8396-04B9E89B175F}" type="presParOf" srcId="{FA7542C5-FB48-0D4C-9912-6E21FF376F18}" destId="{EE8B2F2C-55F3-4542-A9F5-A482B4146717}" srcOrd="1" destOrd="0" presId="urn:microsoft.com/office/officeart/2009/3/layout/HorizontalOrganizationChart"/>
    <dgm:cxn modelId="{06DE4E9F-29BE-614C-BDD5-8D3F28C612F5}" type="presParOf" srcId="{FA7542C5-FB48-0D4C-9912-6E21FF376F18}" destId="{1FE5A672-CE0F-0C4E-ACBB-FA7F3E2707B8}" srcOrd="2" destOrd="0" presId="urn:microsoft.com/office/officeart/2009/3/layout/HorizontalOrganizationChart"/>
    <dgm:cxn modelId="{D95D7E4D-066E-F84B-AF6D-6B590BBBDB60}" type="presParOf" srcId="{23F6E1D9-2C0C-804A-B29E-0E4ED44BE5CE}" destId="{699F8DD7-7177-2E45-833E-F4DBA93E05F1}" srcOrd="6" destOrd="0" presId="urn:microsoft.com/office/officeart/2009/3/layout/HorizontalOrganizationChart"/>
    <dgm:cxn modelId="{0827B398-EB84-5942-A58A-EA843FAD5C57}" type="presParOf" srcId="{23F6E1D9-2C0C-804A-B29E-0E4ED44BE5CE}" destId="{75963F74-4672-134E-9F2C-DB06C6A5A06F}" srcOrd="7" destOrd="0" presId="urn:microsoft.com/office/officeart/2009/3/layout/HorizontalOrganizationChart"/>
    <dgm:cxn modelId="{C93F0506-E82A-B74F-B2B0-9CAD933DCFF5}" type="presParOf" srcId="{75963F74-4672-134E-9F2C-DB06C6A5A06F}" destId="{E38C26ED-EEEC-F44C-8DCF-4AAC0D8CCBC7}" srcOrd="0" destOrd="0" presId="urn:microsoft.com/office/officeart/2009/3/layout/HorizontalOrganizationChart"/>
    <dgm:cxn modelId="{F8ABB860-02ED-A64D-8C87-B6F6CD3EA87F}" type="presParOf" srcId="{E38C26ED-EEEC-F44C-8DCF-4AAC0D8CCBC7}" destId="{52359433-2B0C-624E-8316-58A884DF6397}" srcOrd="0" destOrd="0" presId="urn:microsoft.com/office/officeart/2009/3/layout/HorizontalOrganizationChart"/>
    <dgm:cxn modelId="{F304B3BC-BE47-354B-9D81-F79D395616DF}" type="presParOf" srcId="{E38C26ED-EEEC-F44C-8DCF-4AAC0D8CCBC7}" destId="{02EA0B59-0086-E84B-8E64-ED4BC9D03C03}" srcOrd="1" destOrd="0" presId="urn:microsoft.com/office/officeart/2009/3/layout/HorizontalOrganizationChart"/>
    <dgm:cxn modelId="{7EA2E9CC-0C40-584D-91A2-07357F537F47}" type="presParOf" srcId="{75963F74-4672-134E-9F2C-DB06C6A5A06F}" destId="{CC113A83-E54F-9A4B-BBD6-9D46E4A95E48}" srcOrd="1" destOrd="0" presId="urn:microsoft.com/office/officeart/2009/3/layout/HorizontalOrganizationChart"/>
    <dgm:cxn modelId="{F12D8FB4-CE85-754B-98C6-71DB1398FA2F}" type="presParOf" srcId="{75963F74-4672-134E-9F2C-DB06C6A5A06F}" destId="{F15A4E55-44BD-1646-B4AA-725836315AA0}" srcOrd="2" destOrd="0" presId="urn:microsoft.com/office/officeart/2009/3/layout/HorizontalOrganizationChart"/>
    <dgm:cxn modelId="{AD87A726-E66A-9E45-9EAD-DE3A5E43B236}" type="presParOf" srcId="{23F6E1D9-2C0C-804A-B29E-0E4ED44BE5CE}" destId="{1B76CE1D-1986-3C42-8928-376342AF5685}" srcOrd="8" destOrd="0" presId="urn:microsoft.com/office/officeart/2009/3/layout/HorizontalOrganizationChart"/>
    <dgm:cxn modelId="{854EC59B-3F3C-404C-807A-7C9502F04F7F}" type="presParOf" srcId="{23F6E1D9-2C0C-804A-B29E-0E4ED44BE5CE}" destId="{812A18E4-4F7A-FA48-8905-936ADBEB4B0A}" srcOrd="9" destOrd="0" presId="urn:microsoft.com/office/officeart/2009/3/layout/HorizontalOrganizationChart"/>
    <dgm:cxn modelId="{D66FE186-6765-274E-A517-245FFCC7E9E8}" type="presParOf" srcId="{812A18E4-4F7A-FA48-8905-936ADBEB4B0A}" destId="{4129D7E6-A527-7242-BAD0-BBCF3EE4D5CE}" srcOrd="0" destOrd="0" presId="urn:microsoft.com/office/officeart/2009/3/layout/HorizontalOrganizationChart"/>
    <dgm:cxn modelId="{E699E555-B428-EC45-B049-764C2DECDBD7}" type="presParOf" srcId="{4129D7E6-A527-7242-BAD0-BBCF3EE4D5CE}" destId="{F0A59A47-9F2A-4346-96DA-3115F6E50019}" srcOrd="0" destOrd="0" presId="urn:microsoft.com/office/officeart/2009/3/layout/HorizontalOrganizationChart"/>
    <dgm:cxn modelId="{76B006F4-6FEE-E545-8A2D-CDA5010CD29B}" type="presParOf" srcId="{4129D7E6-A527-7242-BAD0-BBCF3EE4D5CE}" destId="{3302CFCE-7FF5-5844-9AC6-B5119110B97B}" srcOrd="1" destOrd="0" presId="urn:microsoft.com/office/officeart/2009/3/layout/HorizontalOrganizationChart"/>
    <dgm:cxn modelId="{7A6DE4F8-C5D9-6442-8498-09D65EC35BCC}" type="presParOf" srcId="{812A18E4-4F7A-FA48-8905-936ADBEB4B0A}" destId="{29C93E5A-9E1E-5344-BC28-49BCD0B33994}" srcOrd="1" destOrd="0" presId="urn:microsoft.com/office/officeart/2009/3/layout/HorizontalOrganizationChart"/>
    <dgm:cxn modelId="{B7811D45-B6AF-DD44-A836-56CDCBFFDCF6}" type="presParOf" srcId="{812A18E4-4F7A-FA48-8905-936ADBEB4B0A}" destId="{F857A609-1AA2-9A42-8680-C5B24BB720B2}" srcOrd="2" destOrd="0" presId="urn:microsoft.com/office/officeart/2009/3/layout/HorizontalOrganizationChart"/>
    <dgm:cxn modelId="{87A5A38B-BA08-A14B-8156-9513E7C56D95}" type="presParOf" srcId="{23F6E1D9-2C0C-804A-B29E-0E4ED44BE5CE}" destId="{A887A7AC-EDAC-2F46-93F7-155DA1233AD6}" srcOrd="10" destOrd="0" presId="urn:microsoft.com/office/officeart/2009/3/layout/HorizontalOrganizationChart"/>
    <dgm:cxn modelId="{4750D18C-9799-874C-9673-8E86ACBC45C2}" type="presParOf" srcId="{23F6E1D9-2C0C-804A-B29E-0E4ED44BE5CE}" destId="{94A7E8BA-FCE3-984A-8787-7CF1989BB45E}" srcOrd="11" destOrd="0" presId="urn:microsoft.com/office/officeart/2009/3/layout/HorizontalOrganizationChart"/>
    <dgm:cxn modelId="{4749BECA-DFF1-1544-A1A7-6631288B0D87}" type="presParOf" srcId="{94A7E8BA-FCE3-984A-8787-7CF1989BB45E}" destId="{39BC0B8C-E0C6-994E-A60E-4F03027DDC35}" srcOrd="0" destOrd="0" presId="urn:microsoft.com/office/officeart/2009/3/layout/HorizontalOrganizationChart"/>
    <dgm:cxn modelId="{6F2A146E-52CC-6A48-A3F1-69071C2677B0}" type="presParOf" srcId="{39BC0B8C-E0C6-994E-A60E-4F03027DDC35}" destId="{B588A0C4-2648-064E-919C-A29258937C9D}" srcOrd="0" destOrd="0" presId="urn:microsoft.com/office/officeart/2009/3/layout/HorizontalOrganizationChart"/>
    <dgm:cxn modelId="{61304549-9818-4044-8F6A-703E0D7986F1}" type="presParOf" srcId="{39BC0B8C-E0C6-994E-A60E-4F03027DDC35}" destId="{01609304-2552-ED45-9596-EF54BE26DD7E}" srcOrd="1" destOrd="0" presId="urn:microsoft.com/office/officeart/2009/3/layout/HorizontalOrganizationChart"/>
    <dgm:cxn modelId="{CA57B682-99A4-7946-97A2-DECF906AF734}" type="presParOf" srcId="{94A7E8BA-FCE3-984A-8787-7CF1989BB45E}" destId="{8CA5E661-878D-3140-9EBD-069BF972977A}" srcOrd="1" destOrd="0" presId="urn:microsoft.com/office/officeart/2009/3/layout/HorizontalOrganizationChart"/>
    <dgm:cxn modelId="{181FCFFC-5E47-5C4F-9DBC-784277AC4FCB}" type="presParOf" srcId="{94A7E8BA-FCE3-984A-8787-7CF1989BB45E}" destId="{D81923B1-B2C5-5647-B814-010A143D8B9B}" srcOrd="2" destOrd="0" presId="urn:microsoft.com/office/officeart/2009/3/layout/HorizontalOrganizationChart"/>
    <dgm:cxn modelId="{485943B6-6F33-314E-B787-5F3129726764}" type="presParOf" srcId="{23F6E1D9-2C0C-804A-B29E-0E4ED44BE5CE}" destId="{D318C644-F6F3-4C4E-B8D5-EB3E2BC6AED7}" srcOrd="12" destOrd="0" presId="urn:microsoft.com/office/officeart/2009/3/layout/HorizontalOrganizationChart"/>
    <dgm:cxn modelId="{B575794F-C462-724F-A181-E42442C6E6B3}" type="presParOf" srcId="{23F6E1D9-2C0C-804A-B29E-0E4ED44BE5CE}" destId="{9B691CDD-0DC4-4149-A7AF-B9F41961FED2}" srcOrd="13" destOrd="0" presId="urn:microsoft.com/office/officeart/2009/3/layout/HorizontalOrganizationChart"/>
    <dgm:cxn modelId="{CCC49BB2-5422-D04A-9B0D-9A00D071437D}" type="presParOf" srcId="{9B691CDD-0DC4-4149-A7AF-B9F41961FED2}" destId="{4A7A8E3C-8759-2344-8F8A-18637CCBD1EB}" srcOrd="0" destOrd="0" presId="urn:microsoft.com/office/officeart/2009/3/layout/HorizontalOrganizationChart"/>
    <dgm:cxn modelId="{4C2381EB-5119-1E4E-BEC6-1AF1CCD985AF}" type="presParOf" srcId="{4A7A8E3C-8759-2344-8F8A-18637CCBD1EB}" destId="{79CA8CBE-EF24-5548-9ED9-11684E28E9E9}" srcOrd="0" destOrd="0" presId="urn:microsoft.com/office/officeart/2009/3/layout/HorizontalOrganizationChart"/>
    <dgm:cxn modelId="{295A317B-C8EE-F24A-B5C3-9145B87F645C}" type="presParOf" srcId="{4A7A8E3C-8759-2344-8F8A-18637CCBD1EB}" destId="{2541EF95-CD7D-A84E-B74C-0EE687A59494}" srcOrd="1" destOrd="0" presId="urn:microsoft.com/office/officeart/2009/3/layout/HorizontalOrganizationChart"/>
    <dgm:cxn modelId="{9BF23073-4CD5-9E49-9665-155A12C0D668}" type="presParOf" srcId="{9B691CDD-0DC4-4149-A7AF-B9F41961FED2}" destId="{18946F9F-AFDF-5D4E-A983-159E614A33A1}" srcOrd="1" destOrd="0" presId="urn:microsoft.com/office/officeart/2009/3/layout/HorizontalOrganizationChart"/>
    <dgm:cxn modelId="{2D3D3BAF-7372-2B47-9275-AF1B333CE142}" type="presParOf" srcId="{18946F9F-AFDF-5D4E-A983-159E614A33A1}" destId="{F6BD34C8-4476-0849-8E73-FD62361461B9}" srcOrd="0" destOrd="0" presId="urn:microsoft.com/office/officeart/2009/3/layout/HorizontalOrganizationChart"/>
    <dgm:cxn modelId="{F1F6AAD1-E462-464E-A17F-FE67946CAA07}" type="presParOf" srcId="{18946F9F-AFDF-5D4E-A983-159E614A33A1}" destId="{925E7833-FB24-3A44-A4DD-0D72A3FA5B59}" srcOrd="1" destOrd="0" presId="urn:microsoft.com/office/officeart/2009/3/layout/HorizontalOrganizationChart"/>
    <dgm:cxn modelId="{7A8F8E6E-5F33-BC46-AE29-78801F23854D}" type="presParOf" srcId="{925E7833-FB24-3A44-A4DD-0D72A3FA5B59}" destId="{3E4AF3C3-833D-7947-86F1-689679F6A481}" srcOrd="0" destOrd="0" presId="urn:microsoft.com/office/officeart/2009/3/layout/HorizontalOrganizationChart"/>
    <dgm:cxn modelId="{E2EA1D7E-167B-E241-903E-527D64E855C4}" type="presParOf" srcId="{3E4AF3C3-833D-7947-86F1-689679F6A481}" destId="{F0490598-B026-E649-861F-438716F1D831}" srcOrd="0" destOrd="0" presId="urn:microsoft.com/office/officeart/2009/3/layout/HorizontalOrganizationChart"/>
    <dgm:cxn modelId="{8592F883-C4D6-604F-9F70-F5E3C14CBA42}" type="presParOf" srcId="{3E4AF3C3-833D-7947-86F1-689679F6A481}" destId="{1A50727A-1A53-084D-A788-A981E4ADFDA6}" srcOrd="1" destOrd="0" presId="urn:microsoft.com/office/officeart/2009/3/layout/HorizontalOrganizationChart"/>
    <dgm:cxn modelId="{089AD7EC-BB4D-2B41-8C60-5F6180A4D516}" type="presParOf" srcId="{925E7833-FB24-3A44-A4DD-0D72A3FA5B59}" destId="{994AF5E2-7750-3146-A457-B08E5314B434}" srcOrd="1" destOrd="0" presId="urn:microsoft.com/office/officeart/2009/3/layout/HorizontalOrganizationChart"/>
    <dgm:cxn modelId="{704EBC9D-FAE0-D040-94E6-79A45649364A}" type="presParOf" srcId="{925E7833-FB24-3A44-A4DD-0D72A3FA5B59}" destId="{EABC90C7-D7AE-A243-ADD7-A6BC906BAF03}" srcOrd="2" destOrd="0" presId="urn:microsoft.com/office/officeart/2009/3/layout/HorizontalOrganizationChart"/>
    <dgm:cxn modelId="{00A2AD4B-DD29-C045-B5BC-B3CCC3C99B31}" type="presParOf" srcId="{18946F9F-AFDF-5D4E-A983-159E614A33A1}" destId="{E70A53D6-C946-F24F-837C-9831902AEC17}" srcOrd="2" destOrd="0" presId="urn:microsoft.com/office/officeart/2009/3/layout/HorizontalOrganizationChart"/>
    <dgm:cxn modelId="{B777414A-239B-D445-BC44-8598DCCCB34D}" type="presParOf" srcId="{18946F9F-AFDF-5D4E-A983-159E614A33A1}" destId="{20BE7BE1-990B-A245-8BDC-DA82752858D6}" srcOrd="3" destOrd="0" presId="urn:microsoft.com/office/officeart/2009/3/layout/HorizontalOrganizationChart"/>
    <dgm:cxn modelId="{D9C944C4-1AB4-714A-A7D9-90C543C0C718}" type="presParOf" srcId="{20BE7BE1-990B-A245-8BDC-DA82752858D6}" destId="{2C7652FB-A46A-644A-8B76-09B8DEC84CBE}" srcOrd="0" destOrd="0" presId="urn:microsoft.com/office/officeart/2009/3/layout/HorizontalOrganizationChart"/>
    <dgm:cxn modelId="{FEA36A52-7D54-0347-956B-E69CA7488DD7}" type="presParOf" srcId="{2C7652FB-A46A-644A-8B76-09B8DEC84CBE}" destId="{B13F2836-7C6D-BE43-9201-7E32A5B1A68B}" srcOrd="0" destOrd="0" presId="urn:microsoft.com/office/officeart/2009/3/layout/HorizontalOrganizationChart"/>
    <dgm:cxn modelId="{376AB572-7541-D64D-9F80-5C9C9AC80842}" type="presParOf" srcId="{2C7652FB-A46A-644A-8B76-09B8DEC84CBE}" destId="{759B3E6D-9356-DB4C-B128-1EE633A144C3}" srcOrd="1" destOrd="0" presId="urn:microsoft.com/office/officeart/2009/3/layout/HorizontalOrganizationChart"/>
    <dgm:cxn modelId="{6259D649-21DD-5C4B-B2A7-B38AE44A2A11}" type="presParOf" srcId="{20BE7BE1-990B-A245-8BDC-DA82752858D6}" destId="{43047578-E0EF-B74B-8967-7F088BDF4149}" srcOrd="1" destOrd="0" presId="urn:microsoft.com/office/officeart/2009/3/layout/HorizontalOrganizationChart"/>
    <dgm:cxn modelId="{C85A1C56-A08E-A545-89FD-5D14872E59F7}" type="presParOf" srcId="{20BE7BE1-990B-A245-8BDC-DA82752858D6}" destId="{2A2896E8-155D-7A46-B449-9F240A2006C9}" srcOrd="2" destOrd="0" presId="urn:microsoft.com/office/officeart/2009/3/layout/HorizontalOrganizationChart"/>
    <dgm:cxn modelId="{2B9A312A-F76A-5346-A491-C95459ED9981}" type="presParOf" srcId="{9B691CDD-0DC4-4149-A7AF-B9F41961FED2}" destId="{7A86203B-C882-EE49-9118-6CA8003ECB36}" srcOrd="2" destOrd="0" presId="urn:microsoft.com/office/officeart/2009/3/layout/HorizontalOrganizationChart"/>
    <dgm:cxn modelId="{576CC2CA-0026-2C44-A5F9-66356F7EB185}" type="presParOf" srcId="{23F6E1D9-2C0C-804A-B29E-0E4ED44BE5CE}" destId="{46416D42-0884-D447-B39A-6897E67A389B}" srcOrd="14" destOrd="0" presId="urn:microsoft.com/office/officeart/2009/3/layout/HorizontalOrganizationChart"/>
    <dgm:cxn modelId="{ED2352CF-D328-D74F-B15C-E710304D1D1E}" type="presParOf" srcId="{23F6E1D9-2C0C-804A-B29E-0E4ED44BE5CE}" destId="{36E9365D-187B-B444-8ADE-2AD1C4C6D7A4}" srcOrd="15" destOrd="0" presId="urn:microsoft.com/office/officeart/2009/3/layout/HorizontalOrganizationChart"/>
    <dgm:cxn modelId="{B849CFF7-8252-7143-B958-EC37E1662DF9}" type="presParOf" srcId="{36E9365D-187B-B444-8ADE-2AD1C4C6D7A4}" destId="{FAF95924-8021-B14B-9342-2FB5364B96D9}" srcOrd="0" destOrd="0" presId="urn:microsoft.com/office/officeart/2009/3/layout/HorizontalOrganizationChart"/>
    <dgm:cxn modelId="{026026CF-C559-3A44-B6CE-76511CEB0414}" type="presParOf" srcId="{FAF95924-8021-B14B-9342-2FB5364B96D9}" destId="{79ED6464-2B13-C24F-836C-30FBBA91E97E}" srcOrd="0" destOrd="0" presId="urn:microsoft.com/office/officeart/2009/3/layout/HorizontalOrganizationChart"/>
    <dgm:cxn modelId="{FCEDDB71-B0F8-354D-85B2-E349CAA951C3}" type="presParOf" srcId="{FAF95924-8021-B14B-9342-2FB5364B96D9}" destId="{DBB657D1-BAE0-1A48-A375-8A7BE01C9A81}" srcOrd="1" destOrd="0" presId="urn:microsoft.com/office/officeart/2009/3/layout/HorizontalOrganizationChart"/>
    <dgm:cxn modelId="{C19C759E-5B1B-894E-9609-EF23600542D7}" type="presParOf" srcId="{36E9365D-187B-B444-8ADE-2AD1C4C6D7A4}" destId="{9A5DB202-F7FC-6F4B-AD75-E30B225FFA21}" srcOrd="1" destOrd="0" presId="urn:microsoft.com/office/officeart/2009/3/layout/HorizontalOrganizationChart"/>
    <dgm:cxn modelId="{78DFD200-C269-2840-A40C-EA5620288A35}" type="presParOf" srcId="{36E9365D-187B-B444-8ADE-2AD1C4C6D7A4}" destId="{3CC62885-BC88-9442-971A-28B93EDAB1FB}" srcOrd="2" destOrd="0" presId="urn:microsoft.com/office/officeart/2009/3/layout/HorizontalOrganizationChart"/>
    <dgm:cxn modelId="{3BA2E5EB-2D17-E84F-BD1D-12CE9A49EBE0}" type="presParOf" srcId="{23F6E1D9-2C0C-804A-B29E-0E4ED44BE5CE}" destId="{18645229-794C-004D-A1C3-80B20FE346D6}" srcOrd="16" destOrd="0" presId="urn:microsoft.com/office/officeart/2009/3/layout/HorizontalOrganizationChart"/>
    <dgm:cxn modelId="{0827836D-5477-8D40-90E4-57F3DDF9BB1E}" type="presParOf" srcId="{23F6E1D9-2C0C-804A-B29E-0E4ED44BE5CE}" destId="{72B6B93B-CAF4-7F40-8D36-3B630C935673}" srcOrd="17" destOrd="0" presId="urn:microsoft.com/office/officeart/2009/3/layout/HorizontalOrganizationChart"/>
    <dgm:cxn modelId="{4337BC49-BD89-1C45-96DA-784880466462}" type="presParOf" srcId="{72B6B93B-CAF4-7F40-8D36-3B630C935673}" destId="{6297D8A5-9D8F-EF4A-9460-3EBA6A5CB15A}" srcOrd="0" destOrd="0" presId="urn:microsoft.com/office/officeart/2009/3/layout/HorizontalOrganizationChart"/>
    <dgm:cxn modelId="{6663E84D-FC51-FA40-AF52-0BC326E1546A}" type="presParOf" srcId="{6297D8A5-9D8F-EF4A-9460-3EBA6A5CB15A}" destId="{70977390-730E-F949-940A-2D0B59380857}" srcOrd="0" destOrd="0" presId="urn:microsoft.com/office/officeart/2009/3/layout/HorizontalOrganizationChart"/>
    <dgm:cxn modelId="{999E9D2E-E2E8-D04E-AAE3-98DAE2345A8F}" type="presParOf" srcId="{6297D8A5-9D8F-EF4A-9460-3EBA6A5CB15A}" destId="{4DB3980C-0255-4849-9D19-CBED43BF9F43}" srcOrd="1" destOrd="0" presId="urn:microsoft.com/office/officeart/2009/3/layout/HorizontalOrganizationChart"/>
    <dgm:cxn modelId="{5697ECFB-E528-BA4F-B201-8BADA7C298E6}" type="presParOf" srcId="{72B6B93B-CAF4-7F40-8D36-3B630C935673}" destId="{FA6E732F-D039-C84B-B901-BD044096C9C2}" srcOrd="1" destOrd="0" presId="urn:microsoft.com/office/officeart/2009/3/layout/HorizontalOrganizationChart"/>
    <dgm:cxn modelId="{2B6C0211-D704-EC4B-BD80-328B9B1BE208}" type="presParOf" srcId="{72B6B93B-CAF4-7F40-8D36-3B630C935673}" destId="{A72B18A0-1ABA-DE45-BFD6-16A699BBEE0A}" srcOrd="2" destOrd="0" presId="urn:microsoft.com/office/officeart/2009/3/layout/HorizontalOrganizationChart"/>
    <dgm:cxn modelId="{F2E5A83B-0F58-2C4A-B30E-65F31861954A}" type="presParOf" srcId="{D6477084-FA43-4A40-8DD1-3D425BC18EA4}" destId="{A19E0454-B00A-1C49-80CC-A8174950C984}" srcOrd="2" destOrd="0" presId="urn:microsoft.com/office/officeart/2009/3/layout/HorizontalOrganizationChar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D9B0BE5-F451-AE44-9B29-AE62DFDE9BAD}" type="doc">
      <dgm:prSet loTypeId="urn:microsoft.com/office/officeart/2005/8/layout/hierarchy3" loCatId="" qsTypeId="urn:microsoft.com/office/officeart/2005/8/quickstyle/simple4" qsCatId="simple" csTypeId="urn:microsoft.com/office/officeart/2005/8/colors/accent0_3" csCatId="mainScheme" phldr="1"/>
      <dgm:spPr/>
      <dgm:t>
        <a:bodyPr/>
        <a:lstStyle/>
        <a:p>
          <a:endParaRPr lang="en-US"/>
        </a:p>
      </dgm:t>
    </dgm:pt>
    <dgm:pt modelId="{A93A9E4C-E7D0-FD43-9FB4-8DBFA8D52D70}">
      <dgm:prSet phldrT="[Text]" custT="1"/>
      <dgm:spPr/>
      <dgm:t>
        <a:bodyPr/>
        <a:lstStyle/>
        <a:p>
          <a:r>
            <a:rPr lang="en-US" sz="1100" b="1" dirty="0"/>
            <a:t>Interaction with External World</a:t>
          </a:r>
        </a:p>
      </dgm:t>
    </dgm:pt>
    <dgm:pt modelId="{2A68335A-5EE8-7946-BC00-E2667CBF3CE7}" type="parTrans" cxnId="{5921D81E-C961-5041-A1DF-0F2C4F7553B6}">
      <dgm:prSet/>
      <dgm:spPr/>
      <dgm:t>
        <a:bodyPr/>
        <a:lstStyle/>
        <a:p>
          <a:endParaRPr lang="en-US" b="1"/>
        </a:p>
      </dgm:t>
    </dgm:pt>
    <dgm:pt modelId="{9B94EF06-5AEB-7C4E-95D8-9DB2D3C38CA9}" type="sibTrans" cxnId="{5921D81E-C961-5041-A1DF-0F2C4F7553B6}">
      <dgm:prSet/>
      <dgm:spPr/>
      <dgm:t>
        <a:bodyPr/>
        <a:lstStyle/>
        <a:p>
          <a:endParaRPr lang="en-US" b="1"/>
        </a:p>
      </dgm:t>
    </dgm:pt>
    <dgm:pt modelId="{42BF2C42-76AF-0C47-87F9-E812DD474A24}">
      <dgm:prSet phldrT="[Text]"/>
      <dgm:spPr/>
      <dgm:t>
        <a:bodyPr/>
        <a:lstStyle/>
        <a:p>
          <a:r>
            <a:rPr lang="en-US" b="1" dirty="0"/>
            <a:t>Centralized Oracle</a:t>
          </a:r>
        </a:p>
      </dgm:t>
    </dgm:pt>
    <dgm:pt modelId="{FC20E98D-423C-7D44-9229-F20C9684638E}" type="parTrans" cxnId="{FB0CF7AB-B4A5-1748-B93F-F032F0819793}">
      <dgm:prSet/>
      <dgm:spPr/>
      <dgm:t>
        <a:bodyPr/>
        <a:lstStyle/>
        <a:p>
          <a:endParaRPr lang="en-US" b="1"/>
        </a:p>
      </dgm:t>
    </dgm:pt>
    <dgm:pt modelId="{8AB44F8F-7C12-D34C-A8C0-B88B856282B8}" type="sibTrans" cxnId="{FB0CF7AB-B4A5-1748-B93F-F032F0819793}">
      <dgm:prSet/>
      <dgm:spPr/>
      <dgm:t>
        <a:bodyPr/>
        <a:lstStyle/>
        <a:p>
          <a:endParaRPr lang="en-US" b="1"/>
        </a:p>
      </dgm:t>
    </dgm:pt>
    <dgm:pt modelId="{93922F64-2A70-7F4F-A483-8B65EADE1C56}">
      <dgm:prSet phldrT="[Text]"/>
      <dgm:spPr/>
      <dgm:t>
        <a:bodyPr/>
        <a:lstStyle/>
        <a:p>
          <a:r>
            <a:rPr lang="en-US" b="1" dirty="0"/>
            <a:t>Decentralized Oracle</a:t>
          </a:r>
        </a:p>
      </dgm:t>
    </dgm:pt>
    <dgm:pt modelId="{EE0E0967-FB18-3843-A445-F9E668C5B807}" type="parTrans" cxnId="{FEA9FBBB-6DAF-E94D-A4C7-F9E9D754E30E}">
      <dgm:prSet/>
      <dgm:spPr/>
      <dgm:t>
        <a:bodyPr/>
        <a:lstStyle/>
        <a:p>
          <a:endParaRPr lang="en-US" b="1"/>
        </a:p>
      </dgm:t>
    </dgm:pt>
    <dgm:pt modelId="{CE6E5C10-3507-BA4C-AF7F-50D58E676809}" type="sibTrans" cxnId="{FEA9FBBB-6DAF-E94D-A4C7-F9E9D754E30E}">
      <dgm:prSet/>
      <dgm:spPr/>
      <dgm:t>
        <a:bodyPr/>
        <a:lstStyle/>
        <a:p>
          <a:endParaRPr lang="en-US" b="1"/>
        </a:p>
      </dgm:t>
    </dgm:pt>
    <dgm:pt modelId="{E45252E5-FABB-8C40-806C-3AFF4E75FCE9}">
      <dgm:prSet phldrT="[Text]" custT="1"/>
      <dgm:spPr/>
      <dgm:t>
        <a:bodyPr/>
        <a:lstStyle/>
        <a:p>
          <a:r>
            <a:rPr lang="en-US" sz="1100" b="1" dirty="0"/>
            <a:t>Data Management</a:t>
          </a:r>
        </a:p>
      </dgm:t>
    </dgm:pt>
    <dgm:pt modelId="{EFF56ECC-82CF-9E48-8A6B-9F7BE1AD3166}" type="parTrans" cxnId="{64AB747B-70D3-BB4D-B4F4-9B27A1465802}">
      <dgm:prSet/>
      <dgm:spPr/>
      <dgm:t>
        <a:bodyPr/>
        <a:lstStyle/>
        <a:p>
          <a:endParaRPr lang="en-US" b="1"/>
        </a:p>
      </dgm:t>
    </dgm:pt>
    <dgm:pt modelId="{52E1C086-FA7D-2241-9528-6BB9F16171F3}" type="sibTrans" cxnId="{64AB747B-70D3-BB4D-B4F4-9B27A1465802}">
      <dgm:prSet/>
      <dgm:spPr/>
      <dgm:t>
        <a:bodyPr/>
        <a:lstStyle/>
        <a:p>
          <a:endParaRPr lang="en-US" b="1"/>
        </a:p>
      </dgm:t>
    </dgm:pt>
    <dgm:pt modelId="{206D0424-0AA5-1944-8E06-3FA46661E66D}">
      <dgm:prSet phldrT="[Text]" custT="1"/>
      <dgm:spPr>
        <a:solidFill>
          <a:srgbClr val="000000">
            <a:alpha val="90000"/>
          </a:srgbClr>
        </a:solidFill>
        <a:ln w="6350" cap="flat" cmpd="sng" algn="ctr">
          <a:solidFill>
            <a:srgbClr val="C50E1F">
              <a:hueOff val="0"/>
              <a:satOff val="0"/>
              <a:lumOff val="0"/>
              <a:alphaOff val="0"/>
            </a:srgbClr>
          </a:solidFill>
          <a:prstDash val="solid"/>
          <a:miter lim="800000"/>
        </a:ln>
        <a:effectLst/>
      </dgm:spPr>
      <dgm:t>
        <a:bodyPr spcFirstLastPara="0" vert="horz" wrap="square" lIns="20955" tIns="13970" rIns="20955" bIns="13970" numCol="1" spcCol="1270" anchor="ctr" anchorCtr="0"/>
        <a:lstStyle/>
        <a:p>
          <a:pPr marL="0" lvl="0" indent="0" algn="ctr" defTabSz="488950">
            <a:lnSpc>
              <a:spcPct val="90000"/>
            </a:lnSpc>
            <a:spcBef>
              <a:spcPct val="0"/>
            </a:spcBef>
            <a:spcAft>
              <a:spcPct val="35000"/>
            </a:spcAft>
            <a:buNone/>
          </a:pPr>
          <a:r>
            <a:rPr lang="en-US" sz="1100" b="1" kern="1200" dirty="0">
              <a:solidFill>
                <a:srgbClr val="FFFFFF"/>
              </a:solidFill>
              <a:latin typeface="Calibri" panose="020F0502020204030204"/>
              <a:ea typeface="+mn-ea"/>
              <a:cs typeface="+mn-cs"/>
            </a:rPr>
            <a:t>Encrypting On-chain Data</a:t>
          </a:r>
        </a:p>
      </dgm:t>
    </dgm:pt>
    <dgm:pt modelId="{B91791F1-5F93-AB4C-84CF-846BC1547244}" type="parTrans" cxnId="{3B755B28-7371-B34D-A565-29324668190F}">
      <dgm:prSet/>
      <dgm:spPr/>
      <dgm:t>
        <a:bodyPr/>
        <a:lstStyle/>
        <a:p>
          <a:endParaRPr lang="en-US" b="1"/>
        </a:p>
      </dgm:t>
    </dgm:pt>
    <dgm:pt modelId="{698EEEE6-E658-E842-A101-A179B9FDF06D}" type="sibTrans" cxnId="{3B755B28-7371-B34D-A565-29324668190F}">
      <dgm:prSet/>
      <dgm:spPr/>
      <dgm:t>
        <a:bodyPr/>
        <a:lstStyle/>
        <a:p>
          <a:endParaRPr lang="en-US" b="1"/>
        </a:p>
      </dgm:t>
    </dgm:pt>
    <dgm:pt modelId="{5795DD57-74CB-CB48-8D1D-45DA4D8935E8}">
      <dgm:prSet phldrT="[Text]"/>
      <dgm:spPr/>
      <dgm:t>
        <a:bodyPr/>
        <a:lstStyle/>
        <a:p>
          <a:r>
            <a:rPr lang="en-US" b="1" dirty="0"/>
            <a:t>Voting</a:t>
          </a:r>
        </a:p>
      </dgm:t>
    </dgm:pt>
    <dgm:pt modelId="{6AFE073A-80E7-F748-9A7F-B9B70E9AE933}" type="parTrans" cxnId="{7480D72E-87E8-AA48-BC7C-7F79AAF4E0A7}">
      <dgm:prSet/>
      <dgm:spPr/>
      <dgm:t>
        <a:bodyPr/>
        <a:lstStyle/>
        <a:p>
          <a:endParaRPr lang="en-US" b="1"/>
        </a:p>
      </dgm:t>
    </dgm:pt>
    <dgm:pt modelId="{EECE744A-6A32-6E4F-BC5F-ABDF090D22B7}" type="sibTrans" cxnId="{7480D72E-87E8-AA48-BC7C-7F79AAF4E0A7}">
      <dgm:prSet/>
      <dgm:spPr/>
      <dgm:t>
        <a:bodyPr/>
        <a:lstStyle/>
        <a:p>
          <a:endParaRPr lang="en-US" b="1"/>
        </a:p>
      </dgm:t>
    </dgm:pt>
    <dgm:pt modelId="{3A8FFC6B-BF3F-0D49-A951-6E7772E893A0}">
      <dgm:prSet phldrT="[Text]"/>
      <dgm:spPr/>
      <dgm:t>
        <a:bodyPr/>
        <a:lstStyle/>
        <a:p>
          <a:r>
            <a:rPr lang="en-US" b="1" dirty="0" err="1"/>
            <a:t>Tokenisation</a:t>
          </a:r>
          <a:endParaRPr lang="en-US" b="1" dirty="0"/>
        </a:p>
      </dgm:t>
    </dgm:pt>
    <dgm:pt modelId="{08E4D433-C82D-6B4D-8DB3-EA333B4E418F}" type="parTrans" cxnId="{33ACCC18-5A2F-F04F-9F3E-FC1215629D5A}">
      <dgm:prSet/>
      <dgm:spPr/>
      <dgm:t>
        <a:bodyPr/>
        <a:lstStyle/>
        <a:p>
          <a:endParaRPr lang="en-US" b="1"/>
        </a:p>
      </dgm:t>
    </dgm:pt>
    <dgm:pt modelId="{A7370645-CD41-2C49-8423-6BDAF87D87E7}" type="sibTrans" cxnId="{33ACCC18-5A2F-F04F-9F3E-FC1215629D5A}">
      <dgm:prSet/>
      <dgm:spPr/>
      <dgm:t>
        <a:bodyPr/>
        <a:lstStyle/>
        <a:p>
          <a:endParaRPr lang="en-US" b="1"/>
        </a:p>
      </dgm:t>
    </dgm:pt>
    <dgm:pt modelId="{14DA0B7A-897A-7C41-9759-93C7D9C8F0EA}">
      <dgm:prSet phldrT="[Text]" custT="1"/>
      <dgm:spPr/>
      <dgm:t>
        <a:bodyPr/>
        <a:lstStyle/>
        <a:p>
          <a:r>
            <a:rPr lang="en-US" sz="1100" b="1" dirty="0"/>
            <a:t>Security</a:t>
          </a:r>
        </a:p>
      </dgm:t>
    </dgm:pt>
    <dgm:pt modelId="{D2B86BAF-5275-4D4D-9C82-E31191138425}" type="parTrans" cxnId="{84993AB0-7075-DE4A-A5B4-9CAF94740A6F}">
      <dgm:prSet/>
      <dgm:spPr/>
      <dgm:t>
        <a:bodyPr/>
        <a:lstStyle/>
        <a:p>
          <a:endParaRPr lang="en-US" b="1"/>
        </a:p>
      </dgm:t>
    </dgm:pt>
    <dgm:pt modelId="{E0F68FFC-15D7-CF4B-8542-EE341028D7F9}" type="sibTrans" cxnId="{84993AB0-7075-DE4A-A5B4-9CAF94740A6F}">
      <dgm:prSet/>
      <dgm:spPr/>
      <dgm:t>
        <a:bodyPr/>
        <a:lstStyle/>
        <a:p>
          <a:endParaRPr lang="en-US" b="1"/>
        </a:p>
      </dgm:t>
    </dgm:pt>
    <dgm:pt modelId="{9C97E3CD-9DB7-8547-A1AF-3A54690762ED}">
      <dgm:prSet phldrT="[Text]" custT="1"/>
      <dgm:spPr>
        <a:solidFill>
          <a:srgbClr val="000000">
            <a:alpha val="90000"/>
          </a:srgbClr>
        </a:solidFill>
        <a:ln w="6350" cap="flat" cmpd="sng" algn="ctr">
          <a:solidFill>
            <a:srgbClr val="C50E1F">
              <a:hueOff val="0"/>
              <a:satOff val="0"/>
              <a:lumOff val="0"/>
              <a:alphaOff val="0"/>
            </a:srgbClr>
          </a:solidFill>
          <a:prstDash val="solid"/>
          <a:miter lim="800000"/>
        </a:ln>
        <a:effectLst/>
      </dgm:spPr>
      <dgm:t>
        <a:bodyPr spcFirstLastPara="0" vert="horz" wrap="square" lIns="20955" tIns="13970" rIns="20955" bIns="13970" numCol="1" spcCol="1270" anchor="ctr" anchorCtr="0"/>
        <a:lstStyle/>
        <a:p>
          <a:pPr marL="0" lvl="0" indent="0" algn="ctr" defTabSz="488950">
            <a:lnSpc>
              <a:spcPct val="90000"/>
            </a:lnSpc>
            <a:spcBef>
              <a:spcPct val="0"/>
            </a:spcBef>
            <a:spcAft>
              <a:spcPct val="35000"/>
            </a:spcAft>
            <a:buNone/>
          </a:pPr>
          <a:r>
            <a:rPr lang="en-US" sz="1100" b="1" kern="1200" dirty="0">
              <a:solidFill>
                <a:srgbClr val="FFFFFF"/>
              </a:solidFill>
              <a:latin typeface="Calibri" panose="020F0502020204030204"/>
              <a:ea typeface="+mn-ea"/>
              <a:cs typeface="+mn-cs"/>
            </a:rPr>
            <a:t>Multiple Authorization</a:t>
          </a:r>
        </a:p>
      </dgm:t>
    </dgm:pt>
    <dgm:pt modelId="{6DC3CD95-3A31-3D40-AA3D-5BB5D36AE273}" type="parTrans" cxnId="{D65BBDE4-4619-9C49-A3E3-CB9EDAD0E371}">
      <dgm:prSet/>
      <dgm:spPr/>
      <dgm:t>
        <a:bodyPr/>
        <a:lstStyle/>
        <a:p>
          <a:endParaRPr lang="en-US" b="1"/>
        </a:p>
      </dgm:t>
    </dgm:pt>
    <dgm:pt modelId="{DF5AEB34-CC70-9749-8E94-6A2405799434}" type="sibTrans" cxnId="{D65BBDE4-4619-9C49-A3E3-CB9EDAD0E371}">
      <dgm:prSet/>
      <dgm:spPr/>
      <dgm:t>
        <a:bodyPr/>
        <a:lstStyle/>
        <a:p>
          <a:endParaRPr lang="en-US" b="1"/>
        </a:p>
      </dgm:t>
    </dgm:pt>
    <dgm:pt modelId="{4BB958FD-9F3E-B344-BCB4-42AC09735FE8}">
      <dgm:prSet phldrT="[Text]"/>
      <dgm:spPr/>
      <dgm:t>
        <a:bodyPr/>
        <a:lstStyle/>
        <a:p>
          <a:r>
            <a:rPr lang="en-US" b="1" dirty="0"/>
            <a:t>X-confirmation</a:t>
          </a:r>
        </a:p>
      </dgm:t>
    </dgm:pt>
    <dgm:pt modelId="{D693665D-1E30-4E45-8191-F5B6A3F4DF1E}" type="parTrans" cxnId="{1F00DB48-0FCB-5847-A613-168E30AD5D52}">
      <dgm:prSet/>
      <dgm:spPr/>
      <dgm:t>
        <a:bodyPr/>
        <a:lstStyle/>
        <a:p>
          <a:endParaRPr lang="en-US" b="1"/>
        </a:p>
      </dgm:t>
    </dgm:pt>
    <dgm:pt modelId="{765EEAB1-1780-D844-ACD9-03EC80212351}" type="sibTrans" cxnId="{1F00DB48-0FCB-5847-A613-168E30AD5D52}">
      <dgm:prSet/>
      <dgm:spPr/>
      <dgm:t>
        <a:bodyPr/>
        <a:lstStyle/>
        <a:p>
          <a:endParaRPr lang="en-US" b="1"/>
        </a:p>
      </dgm:t>
    </dgm:pt>
    <dgm:pt modelId="{CD9F43A6-8F78-DE4D-81D1-D3D5306C0AA4}">
      <dgm:prSet phldrT="[Text]"/>
      <dgm:spPr/>
      <dgm:t>
        <a:bodyPr/>
        <a:lstStyle/>
        <a:p>
          <a:r>
            <a:rPr lang="en-US" b="1" dirty="0"/>
            <a:t>Security Deposit</a:t>
          </a:r>
        </a:p>
      </dgm:t>
    </dgm:pt>
    <dgm:pt modelId="{25AF418F-5566-C34D-9D1C-F75B9AAB8A1E}" type="parTrans" cxnId="{B6C94F95-56C7-5541-96EF-5D3833EC2A4D}">
      <dgm:prSet/>
      <dgm:spPr/>
      <dgm:t>
        <a:bodyPr/>
        <a:lstStyle/>
        <a:p>
          <a:endParaRPr lang="en-US" b="1"/>
        </a:p>
      </dgm:t>
    </dgm:pt>
    <dgm:pt modelId="{5FF41155-7CC2-554A-BBF3-93BD3CA9CC63}" type="sibTrans" cxnId="{B6C94F95-56C7-5541-96EF-5D3833EC2A4D}">
      <dgm:prSet/>
      <dgm:spPr/>
      <dgm:t>
        <a:bodyPr/>
        <a:lstStyle/>
        <a:p>
          <a:endParaRPr lang="en-US" b="1"/>
        </a:p>
      </dgm:t>
    </dgm:pt>
    <dgm:pt modelId="{83FDFBF5-3880-C34C-9F88-A7C7CC3A1EA2}">
      <dgm:prSet phldrT="[Text]" custT="1"/>
      <dgm:spPr/>
      <dgm:t>
        <a:bodyPr/>
        <a:lstStyle/>
        <a:p>
          <a:r>
            <a:rPr lang="en-US" sz="1100" b="1" dirty="0"/>
            <a:t>Contract Structural Patterns</a:t>
          </a:r>
        </a:p>
      </dgm:t>
    </dgm:pt>
    <dgm:pt modelId="{64C92EAF-A4BF-6240-8D33-6CF3A1E0E8EA}" type="parTrans" cxnId="{DBFDD6D2-463A-244E-921C-BC50EE2E21EB}">
      <dgm:prSet/>
      <dgm:spPr/>
      <dgm:t>
        <a:bodyPr/>
        <a:lstStyle/>
        <a:p>
          <a:endParaRPr lang="en-US" b="1"/>
        </a:p>
      </dgm:t>
    </dgm:pt>
    <dgm:pt modelId="{1A6786D2-A08D-E049-AFB2-E72E5DCEFF2F}" type="sibTrans" cxnId="{DBFDD6D2-463A-244E-921C-BC50EE2E21EB}">
      <dgm:prSet/>
      <dgm:spPr/>
      <dgm:t>
        <a:bodyPr/>
        <a:lstStyle/>
        <a:p>
          <a:endParaRPr lang="en-US" b="1"/>
        </a:p>
      </dgm:t>
    </dgm:pt>
    <dgm:pt modelId="{C064CADF-FE71-0043-B9BC-E5BAAFA28C01}">
      <dgm:prSet phldrT="[Text]" custT="1"/>
      <dgm:spPr>
        <a:solidFill>
          <a:srgbClr val="000000">
            <a:alpha val="90000"/>
          </a:srgbClr>
        </a:solidFill>
        <a:ln w="6350" cap="flat" cmpd="sng" algn="ctr">
          <a:solidFill>
            <a:srgbClr val="C50E1F">
              <a:hueOff val="0"/>
              <a:satOff val="0"/>
              <a:lumOff val="0"/>
              <a:alphaOff val="0"/>
            </a:srgbClr>
          </a:solidFill>
          <a:prstDash val="solid"/>
          <a:miter lim="800000"/>
        </a:ln>
        <a:effectLst/>
      </dgm:spPr>
      <dgm:t>
        <a:bodyPr spcFirstLastPara="0" vert="horz" wrap="square" lIns="20955" tIns="13970" rIns="20955" bIns="13970" numCol="1" spcCol="1270" anchor="ctr" anchorCtr="0"/>
        <a:lstStyle/>
        <a:p>
          <a:pPr marL="0" lvl="0" indent="0" algn="ctr" defTabSz="488950">
            <a:lnSpc>
              <a:spcPct val="90000"/>
            </a:lnSpc>
            <a:spcBef>
              <a:spcPct val="0"/>
            </a:spcBef>
            <a:spcAft>
              <a:spcPct val="35000"/>
            </a:spcAft>
            <a:buNone/>
          </a:pPr>
          <a:r>
            <a:rPr lang="en-US" sz="1100" b="1" kern="1200" dirty="0">
              <a:solidFill>
                <a:srgbClr val="FFFFFF"/>
              </a:solidFill>
              <a:latin typeface="Calibri" panose="020F0502020204030204"/>
              <a:ea typeface="+mn-ea"/>
              <a:cs typeface="+mn-cs"/>
            </a:rPr>
            <a:t>Contract Registry</a:t>
          </a:r>
        </a:p>
      </dgm:t>
    </dgm:pt>
    <dgm:pt modelId="{8D01A9D7-1A6D-E144-B16A-654748C59E4C}" type="parTrans" cxnId="{79208053-7846-E842-AAEA-CC0A69602FC3}">
      <dgm:prSet/>
      <dgm:spPr/>
      <dgm:t>
        <a:bodyPr/>
        <a:lstStyle/>
        <a:p>
          <a:endParaRPr lang="en-US" b="1"/>
        </a:p>
      </dgm:t>
    </dgm:pt>
    <dgm:pt modelId="{24D9B3E1-21EF-B34D-9245-1F0C4390EE86}" type="sibTrans" cxnId="{79208053-7846-E842-AAEA-CC0A69602FC3}">
      <dgm:prSet/>
      <dgm:spPr/>
      <dgm:t>
        <a:bodyPr/>
        <a:lstStyle/>
        <a:p>
          <a:endParaRPr lang="en-US" b="1"/>
        </a:p>
      </dgm:t>
    </dgm:pt>
    <dgm:pt modelId="{E048C408-DFFD-2A4B-AD60-BFF6809DC491}">
      <dgm:prSet phldrT="[Text]"/>
      <dgm:spPr/>
      <dgm:t>
        <a:bodyPr/>
        <a:lstStyle/>
        <a:p>
          <a:r>
            <a:rPr lang="en-US" b="1" dirty="0"/>
            <a:t>Embedded Permission</a:t>
          </a:r>
        </a:p>
      </dgm:t>
    </dgm:pt>
    <dgm:pt modelId="{CFA64A71-BA9D-FE4B-894D-C3B37A8B6732}" type="parTrans" cxnId="{3A7D9C13-BA99-1341-9604-4229A9B67365}">
      <dgm:prSet/>
      <dgm:spPr/>
      <dgm:t>
        <a:bodyPr/>
        <a:lstStyle/>
        <a:p>
          <a:endParaRPr lang="en-US" b="1"/>
        </a:p>
      </dgm:t>
    </dgm:pt>
    <dgm:pt modelId="{F7F02BF2-BF8D-0A4E-A604-49385B5ECEA1}" type="sibTrans" cxnId="{3A7D9C13-BA99-1341-9604-4229A9B67365}">
      <dgm:prSet/>
      <dgm:spPr/>
      <dgm:t>
        <a:bodyPr/>
        <a:lstStyle/>
        <a:p>
          <a:endParaRPr lang="en-US" b="1"/>
        </a:p>
      </dgm:t>
    </dgm:pt>
    <dgm:pt modelId="{800EA581-401F-E443-AF44-372A0410D0D3}">
      <dgm:prSet phldrT="[Text]"/>
      <dgm:spPr/>
      <dgm:t>
        <a:bodyPr/>
        <a:lstStyle/>
        <a:p>
          <a:r>
            <a:rPr lang="en-US" b="1" dirty="0"/>
            <a:t>Data Contract</a:t>
          </a:r>
        </a:p>
      </dgm:t>
    </dgm:pt>
    <dgm:pt modelId="{3A825C8F-5C22-DC4C-9096-7603543CCA2E}" type="parTrans" cxnId="{DE60B85A-F816-F548-8517-AEBBF49030C1}">
      <dgm:prSet/>
      <dgm:spPr/>
      <dgm:t>
        <a:bodyPr/>
        <a:lstStyle/>
        <a:p>
          <a:endParaRPr lang="en-US" b="1"/>
        </a:p>
      </dgm:t>
    </dgm:pt>
    <dgm:pt modelId="{65ADC1C0-435E-EB48-80C5-F08981257D68}" type="sibTrans" cxnId="{DE60B85A-F816-F548-8517-AEBBF49030C1}">
      <dgm:prSet/>
      <dgm:spPr/>
      <dgm:t>
        <a:bodyPr/>
        <a:lstStyle/>
        <a:p>
          <a:endParaRPr lang="en-US" b="1"/>
        </a:p>
      </dgm:t>
    </dgm:pt>
    <dgm:pt modelId="{C7CD03D8-0BB1-624B-B92E-3CA5BA861352}">
      <dgm:prSet phldrT="[Text]"/>
      <dgm:spPr/>
      <dgm:t>
        <a:bodyPr/>
        <a:lstStyle/>
        <a:p>
          <a:r>
            <a:rPr lang="en-US" b="1" dirty="0"/>
            <a:t>Factory Contract</a:t>
          </a:r>
        </a:p>
      </dgm:t>
    </dgm:pt>
    <dgm:pt modelId="{09FD0A1D-78DE-F64D-BE33-9B33758A8E1E}" type="parTrans" cxnId="{9FA96202-515E-3C49-91C4-665194E6AA8D}">
      <dgm:prSet/>
      <dgm:spPr/>
      <dgm:t>
        <a:bodyPr/>
        <a:lstStyle/>
        <a:p>
          <a:endParaRPr lang="en-US" b="1"/>
        </a:p>
      </dgm:t>
    </dgm:pt>
    <dgm:pt modelId="{9CC5CB52-E772-2B46-B434-7D27450ECF4A}" type="sibTrans" cxnId="{9FA96202-515E-3C49-91C4-665194E6AA8D}">
      <dgm:prSet/>
      <dgm:spPr/>
      <dgm:t>
        <a:bodyPr/>
        <a:lstStyle/>
        <a:p>
          <a:endParaRPr lang="en-US" b="1"/>
        </a:p>
      </dgm:t>
    </dgm:pt>
    <dgm:pt modelId="{AECD768C-62D5-FB40-9404-3DEB1DC0CCFC}">
      <dgm:prSet phldrT="[Text]" custT="1"/>
      <dgm:spPr>
        <a:solidFill>
          <a:srgbClr val="000000">
            <a:alpha val="90000"/>
          </a:srgbClr>
        </a:solidFill>
        <a:ln w="6350" cap="flat" cmpd="sng" algn="ctr">
          <a:solidFill>
            <a:srgbClr val="C50E1F">
              <a:hueOff val="0"/>
              <a:satOff val="0"/>
              <a:lumOff val="0"/>
              <a:alphaOff val="0"/>
            </a:srgbClr>
          </a:solidFill>
          <a:prstDash val="solid"/>
          <a:miter lim="800000"/>
        </a:ln>
        <a:effectLst/>
      </dgm:spPr>
      <dgm:t>
        <a:bodyPr spcFirstLastPara="0" vert="horz" wrap="square" lIns="20955" tIns="13970" rIns="20955" bIns="13970" numCol="1" spcCol="1270" anchor="ctr" anchorCtr="0"/>
        <a:lstStyle/>
        <a:p>
          <a:pPr marL="0" lvl="0" indent="0" algn="ctr" defTabSz="488950">
            <a:lnSpc>
              <a:spcPct val="90000"/>
            </a:lnSpc>
            <a:spcBef>
              <a:spcPct val="0"/>
            </a:spcBef>
            <a:spcAft>
              <a:spcPct val="35000"/>
            </a:spcAft>
            <a:buNone/>
          </a:pPr>
          <a:r>
            <a:rPr lang="en-US" sz="1100" b="1" kern="1200" dirty="0">
              <a:solidFill>
                <a:srgbClr val="FFFFFF"/>
              </a:solidFill>
              <a:latin typeface="Calibri" panose="020F0502020204030204"/>
              <a:ea typeface="+mn-ea"/>
              <a:cs typeface="+mn-cs"/>
            </a:rPr>
            <a:t>Incentive Execution</a:t>
          </a:r>
        </a:p>
      </dgm:t>
    </dgm:pt>
    <dgm:pt modelId="{C17C17C7-3F20-054E-AB0E-50F06C686A2A}" type="parTrans" cxnId="{09E42F05-D932-BF4E-80E0-4EFDC24A69A1}">
      <dgm:prSet/>
      <dgm:spPr/>
      <dgm:t>
        <a:bodyPr/>
        <a:lstStyle/>
        <a:p>
          <a:endParaRPr lang="en-US" b="1"/>
        </a:p>
      </dgm:t>
    </dgm:pt>
    <dgm:pt modelId="{50838162-1AD2-C64B-8356-F56C7ECEFED2}" type="sibTrans" cxnId="{09E42F05-D932-BF4E-80E0-4EFDC24A69A1}">
      <dgm:prSet/>
      <dgm:spPr/>
      <dgm:t>
        <a:bodyPr/>
        <a:lstStyle/>
        <a:p>
          <a:endParaRPr lang="en-US" b="1"/>
        </a:p>
      </dgm:t>
    </dgm:pt>
    <dgm:pt modelId="{AE805E67-4EA8-E44E-977C-CE7A6905D586}">
      <dgm:prSet phldrT="[Text]" custT="1"/>
      <dgm:spPr/>
      <dgm:t>
        <a:bodyPr/>
        <a:lstStyle/>
        <a:p>
          <a:r>
            <a:rPr lang="en-US" sz="1100" b="1" dirty="0"/>
            <a:t>Deployment</a:t>
          </a:r>
        </a:p>
      </dgm:t>
    </dgm:pt>
    <dgm:pt modelId="{F62ACB79-F0B7-564F-A02E-275C0C646988}" type="parTrans" cxnId="{F0593E88-DE20-114A-A748-1E4C4F5E9767}">
      <dgm:prSet/>
      <dgm:spPr/>
      <dgm:t>
        <a:bodyPr/>
        <a:lstStyle/>
        <a:p>
          <a:endParaRPr lang="en-US" b="1"/>
        </a:p>
      </dgm:t>
    </dgm:pt>
    <dgm:pt modelId="{20A19F98-901A-124B-B679-5A49740AA061}" type="sibTrans" cxnId="{F0593E88-DE20-114A-A748-1E4C4F5E9767}">
      <dgm:prSet/>
      <dgm:spPr/>
      <dgm:t>
        <a:bodyPr/>
        <a:lstStyle/>
        <a:p>
          <a:endParaRPr lang="en-US" b="1"/>
        </a:p>
      </dgm:t>
    </dgm:pt>
    <dgm:pt modelId="{1E59CAD3-9F6E-FD4F-BAF7-EF4CC902E143}">
      <dgm:prSet phldrT="[Text]"/>
      <dgm:spPr/>
      <dgm:t>
        <a:bodyPr/>
        <a:lstStyle/>
        <a:p>
          <a:r>
            <a:rPr lang="en-US" b="1" dirty="0"/>
            <a:t>Semi-</a:t>
          </a:r>
          <a:r>
            <a:rPr lang="en-US" b="1" dirty="0" err="1"/>
            <a:t>dapp</a:t>
          </a:r>
          <a:endParaRPr lang="en-US" b="1" dirty="0"/>
        </a:p>
      </dgm:t>
    </dgm:pt>
    <dgm:pt modelId="{980B70E5-30DC-1C47-A775-4EFAE7B3F939}" type="parTrans" cxnId="{43A62CFB-DBB4-D84F-A6CA-4777F4553E76}">
      <dgm:prSet/>
      <dgm:spPr/>
      <dgm:t>
        <a:bodyPr/>
        <a:lstStyle/>
        <a:p>
          <a:endParaRPr lang="en-US" b="1"/>
        </a:p>
      </dgm:t>
    </dgm:pt>
    <dgm:pt modelId="{DBDD853A-F9F1-8F4C-928D-3D6FA5A0F10C}" type="sibTrans" cxnId="{43A62CFB-DBB4-D84F-A6CA-4777F4553E76}">
      <dgm:prSet/>
      <dgm:spPr/>
      <dgm:t>
        <a:bodyPr/>
        <a:lstStyle/>
        <a:p>
          <a:endParaRPr lang="en-US" b="1"/>
        </a:p>
      </dgm:t>
    </dgm:pt>
    <dgm:pt modelId="{C2697DC4-583D-BB44-81DC-86E313B73653}">
      <dgm:prSet phldrT="[Text]"/>
      <dgm:spPr/>
      <dgm:t>
        <a:bodyPr/>
        <a:lstStyle/>
        <a:p>
          <a:r>
            <a:rPr lang="en-US" b="1" dirty="0" err="1"/>
            <a:t>dapp</a:t>
          </a:r>
          <a:endParaRPr lang="en-US" b="1" dirty="0"/>
        </a:p>
      </dgm:t>
    </dgm:pt>
    <dgm:pt modelId="{2891CC72-C4C8-4E42-8F5E-A6C8C6D002B0}" type="parTrans" cxnId="{DCCAE682-29A8-0849-9091-0A0A80156B79}">
      <dgm:prSet/>
      <dgm:spPr/>
      <dgm:t>
        <a:bodyPr/>
        <a:lstStyle/>
        <a:p>
          <a:endParaRPr lang="en-US" b="1"/>
        </a:p>
      </dgm:t>
    </dgm:pt>
    <dgm:pt modelId="{5EAE4E19-5AB0-564F-8904-3BC7AAA9AD5C}" type="sibTrans" cxnId="{DCCAE682-29A8-0849-9091-0A0A80156B79}">
      <dgm:prSet/>
      <dgm:spPr/>
      <dgm:t>
        <a:bodyPr/>
        <a:lstStyle/>
        <a:p>
          <a:endParaRPr lang="en-US" b="1"/>
        </a:p>
      </dgm:t>
    </dgm:pt>
    <dgm:pt modelId="{5C410414-BDEA-A640-9DBE-2BE4F41CC57A}">
      <dgm:prSet phldrT="[Text]"/>
      <dgm:spPr>
        <a:solidFill>
          <a:schemeClr val="tx1">
            <a:alpha val="90000"/>
          </a:schemeClr>
        </a:solidFill>
      </dgm:spPr>
      <dgm:t>
        <a:bodyPr/>
        <a:lstStyle/>
        <a:p>
          <a:r>
            <a:rPr lang="en-US" b="1" dirty="0">
              <a:solidFill>
                <a:schemeClr val="bg1"/>
              </a:solidFill>
            </a:rPr>
            <a:t>Legal and Smart Contract Pair</a:t>
          </a:r>
        </a:p>
      </dgm:t>
    </dgm:pt>
    <dgm:pt modelId="{A1220BA8-1B0D-E947-ACEC-A4409A4A2808}" type="parTrans" cxnId="{9AC4EEE6-314F-4345-8177-4E31B3AF23D6}">
      <dgm:prSet/>
      <dgm:spPr/>
      <dgm:t>
        <a:bodyPr/>
        <a:lstStyle/>
        <a:p>
          <a:endParaRPr lang="en-US"/>
        </a:p>
      </dgm:t>
    </dgm:pt>
    <dgm:pt modelId="{73A0378E-2B63-B546-A1F3-E2DC0D0C8CC6}" type="sibTrans" cxnId="{9AC4EEE6-314F-4345-8177-4E31B3AF23D6}">
      <dgm:prSet/>
      <dgm:spPr/>
      <dgm:t>
        <a:bodyPr/>
        <a:lstStyle/>
        <a:p>
          <a:endParaRPr lang="en-US"/>
        </a:p>
      </dgm:t>
    </dgm:pt>
    <dgm:pt modelId="{9C8C6F10-0861-024F-B313-D860E27B22FC}">
      <dgm:prSet phldrT="[Text]"/>
      <dgm:spPr/>
      <dgm:t>
        <a:bodyPr/>
        <a:lstStyle/>
        <a:p>
          <a:r>
            <a:rPr lang="en-US" b="1" dirty="0"/>
            <a:t>Reverse Oracle</a:t>
          </a:r>
        </a:p>
      </dgm:t>
    </dgm:pt>
    <dgm:pt modelId="{A5B2F138-9715-E242-8CC8-A027957736BF}" type="sibTrans" cxnId="{1D7A922F-C6D5-7645-9B9F-21AF5EB2B4BD}">
      <dgm:prSet/>
      <dgm:spPr/>
      <dgm:t>
        <a:bodyPr/>
        <a:lstStyle/>
        <a:p>
          <a:endParaRPr lang="en-US" b="1"/>
        </a:p>
      </dgm:t>
    </dgm:pt>
    <dgm:pt modelId="{F59CACE4-682F-7A4D-92F2-3B1FBBF01AE8}" type="parTrans" cxnId="{1D7A922F-C6D5-7645-9B9F-21AF5EB2B4BD}">
      <dgm:prSet/>
      <dgm:spPr/>
      <dgm:t>
        <a:bodyPr/>
        <a:lstStyle/>
        <a:p>
          <a:endParaRPr lang="en-US" b="1"/>
        </a:p>
      </dgm:t>
    </dgm:pt>
    <dgm:pt modelId="{1A43F41A-952A-8D4A-96DD-5994AED170B7}">
      <dgm:prSet phldrT="[Text]"/>
      <dgm:spPr/>
      <dgm:t>
        <a:bodyPr/>
        <a:lstStyle/>
        <a:p>
          <a:r>
            <a:rPr lang="en-US" b="1" dirty="0"/>
            <a:t>Off-chain Data Storage</a:t>
          </a:r>
        </a:p>
      </dgm:t>
    </dgm:pt>
    <dgm:pt modelId="{CA5D1486-C56C-594C-905E-13012BA57F9F}" type="parTrans" cxnId="{17B64441-6710-BD4B-8BCA-12D6D8C2AD54}">
      <dgm:prSet/>
      <dgm:spPr/>
      <dgm:t>
        <a:bodyPr/>
        <a:lstStyle/>
        <a:p>
          <a:endParaRPr lang="en-US"/>
        </a:p>
      </dgm:t>
    </dgm:pt>
    <dgm:pt modelId="{DB309734-0602-A845-82B0-D06B8580D2C4}" type="sibTrans" cxnId="{17B64441-6710-BD4B-8BCA-12D6D8C2AD54}">
      <dgm:prSet/>
      <dgm:spPr/>
      <dgm:t>
        <a:bodyPr/>
        <a:lstStyle/>
        <a:p>
          <a:endParaRPr lang="en-US"/>
        </a:p>
      </dgm:t>
    </dgm:pt>
    <dgm:pt modelId="{0CD26FE5-FCFA-4E44-BF9A-A90E33BD5F9A}">
      <dgm:prSet phldrT="[Text]"/>
      <dgm:spPr/>
      <dgm:t>
        <a:bodyPr/>
        <a:lstStyle/>
        <a:p>
          <a:r>
            <a:rPr lang="en-US" b="1" dirty="0"/>
            <a:t>State Channel</a:t>
          </a:r>
        </a:p>
      </dgm:t>
    </dgm:pt>
    <dgm:pt modelId="{299921CB-0981-C243-BCFB-6CDAF30964CE}" type="parTrans" cxnId="{AD9328ED-D8F1-7442-BACD-CAD6807A04BD}">
      <dgm:prSet/>
      <dgm:spPr/>
      <dgm:t>
        <a:bodyPr/>
        <a:lstStyle/>
        <a:p>
          <a:endParaRPr lang="en-US"/>
        </a:p>
      </dgm:t>
    </dgm:pt>
    <dgm:pt modelId="{70716163-2DCF-E44A-B350-F696C702CFC1}" type="sibTrans" cxnId="{AD9328ED-D8F1-7442-BACD-CAD6807A04BD}">
      <dgm:prSet/>
      <dgm:spPr/>
      <dgm:t>
        <a:bodyPr/>
        <a:lstStyle/>
        <a:p>
          <a:endParaRPr lang="en-US"/>
        </a:p>
      </dgm:t>
    </dgm:pt>
    <dgm:pt modelId="{D2DC4467-C2C2-8A4E-960B-CB89039407FD}">
      <dgm:prSet phldrT="[Text]"/>
      <dgm:spPr/>
      <dgm:t>
        <a:bodyPr/>
        <a:lstStyle/>
        <a:p>
          <a:r>
            <a:rPr lang="en-US" b="1" dirty="0"/>
            <a:t>Dynamic Authorization</a:t>
          </a:r>
        </a:p>
      </dgm:t>
    </dgm:pt>
    <dgm:pt modelId="{401C2EE8-FE3D-0245-95E9-232E1246F33E}" type="parTrans" cxnId="{40105A16-B8B1-AD44-99B7-8191C901FA57}">
      <dgm:prSet/>
      <dgm:spPr/>
      <dgm:t>
        <a:bodyPr/>
        <a:lstStyle/>
        <a:p>
          <a:endParaRPr lang="en-US"/>
        </a:p>
      </dgm:t>
    </dgm:pt>
    <dgm:pt modelId="{0BE55F7B-756E-6142-BD65-272D8B129CD6}" type="sibTrans" cxnId="{40105A16-B8B1-AD44-99B7-8191C901FA57}">
      <dgm:prSet/>
      <dgm:spPr/>
      <dgm:t>
        <a:bodyPr/>
        <a:lstStyle/>
        <a:p>
          <a:endParaRPr lang="en-US"/>
        </a:p>
      </dgm:t>
    </dgm:pt>
    <dgm:pt modelId="{16F309D4-BE1B-8D44-A2FF-C8BCEAD0DD2A}" type="pres">
      <dgm:prSet presAssocID="{6D9B0BE5-F451-AE44-9B29-AE62DFDE9BAD}" presName="diagram" presStyleCnt="0">
        <dgm:presLayoutVars>
          <dgm:chPref val="1"/>
          <dgm:dir/>
          <dgm:animOne val="branch"/>
          <dgm:animLvl val="lvl"/>
          <dgm:resizeHandles/>
        </dgm:presLayoutVars>
      </dgm:prSet>
      <dgm:spPr/>
    </dgm:pt>
    <dgm:pt modelId="{3DDC912D-8E1C-FC40-8BE1-FC7633F2A656}" type="pres">
      <dgm:prSet presAssocID="{A93A9E4C-E7D0-FD43-9FB4-8DBFA8D52D70}" presName="root" presStyleCnt="0"/>
      <dgm:spPr/>
    </dgm:pt>
    <dgm:pt modelId="{D2840C6D-7CF9-004A-B564-C355E09D9DF8}" type="pres">
      <dgm:prSet presAssocID="{A93A9E4C-E7D0-FD43-9FB4-8DBFA8D52D70}" presName="rootComposite" presStyleCnt="0"/>
      <dgm:spPr/>
    </dgm:pt>
    <dgm:pt modelId="{4D8ABC0C-6D7F-824A-921B-618D8A3A8EB1}" type="pres">
      <dgm:prSet presAssocID="{A93A9E4C-E7D0-FD43-9FB4-8DBFA8D52D70}" presName="rootText" presStyleLbl="node1" presStyleIdx="0" presStyleCnt="5"/>
      <dgm:spPr/>
    </dgm:pt>
    <dgm:pt modelId="{2909E014-6738-864A-AF59-65F10CC999ED}" type="pres">
      <dgm:prSet presAssocID="{A93A9E4C-E7D0-FD43-9FB4-8DBFA8D52D70}" presName="rootConnector" presStyleLbl="node1" presStyleIdx="0" presStyleCnt="5"/>
      <dgm:spPr/>
    </dgm:pt>
    <dgm:pt modelId="{12C4B6BF-E8D8-AE43-A701-F7E2A777D60C}" type="pres">
      <dgm:prSet presAssocID="{A93A9E4C-E7D0-FD43-9FB4-8DBFA8D52D70}" presName="childShape" presStyleCnt="0"/>
      <dgm:spPr/>
    </dgm:pt>
    <dgm:pt modelId="{3F514349-0FED-5C41-B786-EE797FD6A6ED}" type="pres">
      <dgm:prSet presAssocID="{FC20E98D-423C-7D44-9229-F20C9684638E}" presName="Name13" presStyleLbl="parChTrans1D2" presStyleIdx="0" presStyleCnt="20"/>
      <dgm:spPr/>
    </dgm:pt>
    <dgm:pt modelId="{0D6F72C5-DE37-E941-AD44-5970467C2A96}" type="pres">
      <dgm:prSet presAssocID="{42BF2C42-76AF-0C47-87F9-E812DD474A24}" presName="childText" presStyleLbl="bgAcc1" presStyleIdx="0" presStyleCnt="20">
        <dgm:presLayoutVars>
          <dgm:bulletEnabled val="1"/>
        </dgm:presLayoutVars>
      </dgm:prSet>
      <dgm:spPr/>
    </dgm:pt>
    <dgm:pt modelId="{D5ADA3D3-42F7-7E46-8A26-E9B8F121314A}" type="pres">
      <dgm:prSet presAssocID="{EE0E0967-FB18-3843-A445-F9E668C5B807}" presName="Name13" presStyleLbl="parChTrans1D2" presStyleIdx="1" presStyleCnt="20"/>
      <dgm:spPr/>
    </dgm:pt>
    <dgm:pt modelId="{5829D355-4F9B-754E-8384-23AF734D3DC1}" type="pres">
      <dgm:prSet presAssocID="{93922F64-2A70-7F4F-A483-8B65EADE1C56}" presName="childText" presStyleLbl="bgAcc1" presStyleIdx="1" presStyleCnt="20">
        <dgm:presLayoutVars>
          <dgm:bulletEnabled val="1"/>
        </dgm:presLayoutVars>
      </dgm:prSet>
      <dgm:spPr/>
    </dgm:pt>
    <dgm:pt modelId="{0D5AF32C-FEAC-B940-AEF9-113FD4C540C5}" type="pres">
      <dgm:prSet presAssocID="{6AFE073A-80E7-F748-9A7F-B9B70E9AE933}" presName="Name13" presStyleLbl="parChTrans1D2" presStyleIdx="2" presStyleCnt="20"/>
      <dgm:spPr/>
    </dgm:pt>
    <dgm:pt modelId="{710A9C0B-B81D-0947-8B02-F4620CE15477}" type="pres">
      <dgm:prSet presAssocID="{5795DD57-74CB-CB48-8D1D-45DA4D8935E8}" presName="childText" presStyleLbl="bgAcc1" presStyleIdx="2" presStyleCnt="20">
        <dgm:presLayoutVars>
          <dgm:bulletEnabled val="1"/>
        </dgm:presLayoutVars>
      </dgm:prSet>
      <dgm:spPr/>
    </dgm:pt>
    <dgm:pt modelId="{59399A21-1752-9641-909F-1DF60D99EC93}" type="pres">
      <dgm:prSet presAssocID="{A1220BA8-1B0D-E947-ACEC-A4409A4A2808}" presName="Name13" presStyleLbl="parChTrans1D2" presStyleIdx="3" presStyleCnt="20"/>
      <dgm:spPr/>
    </dgm:pt>
    <dgm:pt modelId="{169F2B92-7101-9A4A-83D1-C2CF5AF28505}" type="pres">
      <dgm:prSet presAssocID="{5C410414-BDEA-A640-9DBE-2BE4F41CC57A}" presName="childText" presStyleLbl="bgAcc1" presStyleIdx="3" presStyleCnt="20">
        <dgm:presLayoutVars>
          <dgm:bulletEnabled val="1"/>
        </dgm:presLayoutVars>
      </dgm:prSet>
      <dgm:spPr/>
    </dgm:pt>
    <dgm:pt modelId="{C1B131E3-501B-D54B-87C3-86BF06BB35E8}" type="pres">
      <dgm:prSet presAssocID="{F59CACE4-682F-7A4D-92F2-3B1FBBF01AE8}" presName="Name13" presStyleLbl="parChTrans1D2" presStyleIdx="4" presStyleCnt="20"/>
      <dgm:spPr/>
    </dgm:pt>
    <dgm:pt modelId="{4A6CB5A3-1BA1-7E4B-8C56-627C34B6ECD3}" type="pres">
      <dgm:prSet presAssocID="{9C8C6F10-0861-024F-B313-D860E27B22FC}" presName="childText" presStyleLbl="bgAcc1" presStyleIdx="4" presStyleCnt="20">
        <dgm:presLayoutVars>
          <dgm:bulletEnabled val="1"/>
        </dgm:presLayoutVars>
      </dgm:prSet>
      <dgm:spPr/>
    </dgm:pt>
    <dgm:pt modelId="{A96934A9-523B-374E-8C2C-7909AAC40CA6}" type="pres">
      <dgm:prSet presAssocID="{E45252E5-FABB-8C40-806C-3AFF4E75FCE9}" presName="root" presStyleCnt="0"/>
      <dgm:spPr/>
    </dgm:pt>
    <dgm:pt modelId="{F25E26AF-11C2-7749-8719-C27F23C8B04A}" type="pres">
      <dgm:prSet presAssocID="{E45252E5-FABB-8C40-806C-3AFF4E75FCE9}" presName="rootComposite" presStyleCnt="0"/>
      <dgm:spPr/>
    </dgm:pt>
    <dgm:pt modelId="{587C74AE-3394-DC49-8CB1-76A0BCD058A4}" type="pres">
      <dgm:prSet presAssocID="{E45252E5-FABB-8C40-806C-3AFF4E75FCE9}" presName="rootText" presStyleLbl="node1" presStyleIdx="1" presStyleCnt="5"/>
      <dgm:spPr/>
    </dgm:pt>
    <dgm:pt modelId="{242389FB-B41A-B840-98D8-A9B4FB6A89AF}" type="pres">
      <dgm:prSet presAssocID="{E45252E5-FABB-8C40-806C-3AFF4E75FCE9}" presName="rootConnector" presStyleLbl="node1" presStyleIdx="1" presStyleCnt="5"/>
      <dgm:spPr/>
    </dgm:pt>
    <dgm:pt modelId="{DEA32703-74CA-6747-A77B-3BB9BDFE1AED}" type="pres">
      <dgm:prSet presAssocID="{E45252E5-FABB-8C40-806C-3AFF4E75FCE9}" presName="childShape" presStyleCnt="0"/>
      <dgm:spPr/>
    </dgm:pt>
    <dgm:pt modelId="{BA439008-8DC7-6F4F-BB51-CC1D048D6E8D}" type="pres">
      <dgm:prSet presAssocID="{CA5D1486-C56C-594C-905E-13012BA57F9F}" presName="Name13" presStyleLbl="parChTrans1D2" presStyleIdx="5" presStyleCnt="20"/>
      <dgm:spPr/>
    </dgm:pt>
    <dgm:pt modelId="{EC7CC600-EAD4-7449-B71C-71141DC3A933}" type="pres">
      <dgm:prSet presAssocID="{1A43F41A-952A-8D4A-96DD-5994AED170B7}" presName="childText" presStyleLbl="bgAcc1" presStyleIdx="5" presStyleCnt="20">
        <dgm:presLayoutVars>
          <dgm:bulletEnabled val="1"/>
        </dgm:presLayoutVars>
      </dgm:prSet>
      <dgm:spPr/>
    </dgm:pt>
    <dgm:pt modelId="{E10A6EA2-0E21-A04F-8004-BFC9A0538066}" type="pres">
      <dgm:prSet presAssocID="{299921CB-0981-C243-BCFB-6CDAF30964CE}" presName="Name13" presStyleLbl="parChTrans1D2" presStyleIdx="6" presStyleCnt="20"/>
      <dgm:spPr/>
    </dgm:pt>
    <dgm:pt modelId="{0802B708-C3AC-C64A-B8CF-25D102BF4DB4}" type="pres">
      <dgm:prSet presAssocID="{0CD26FE5-FCFA-4E44-BF9A-A90E33BD5F9A}" presName="childText" presStyleLbl="bgAcc1" presStyleIdx="6" presStyleCnt="20">
        <dgm:presLayoutVars>
          <dgm:bulletEnabled val="1"/>
        </dgm:presLayoutVars>
      </dgm:prSet>
      <dgm:spPr/>
    </dgm:pt>
    <dgm:pt modelId="{BF408421-FF0A-F54E-B93E-57AA7AC549C4}" type="pres">
      <dgm:prSet presAssocID="{B91791F1-5F93-AB4C-84CF-846BC1547244}" presName="Name13" presStyleLbl="parChTrans1D2" presStyleIdx="7" presStyleCnt="20"/>
      <dgm:spPr/>
    </dgm:pt>
    <dgm:pt modelId="{0F6014B9-FF15-0546-AA04-F591028B596A}" type="pres">
      <dgm:prSet presAssocID="{206D0424-0AA5-1944-8E06-3FA46661E66D}" presName="childText" presStyleLbl="bgAcc1" presStyleIdx="7" presStyleCnt="20">
        <dgm:presLayoutVars>
          <dgm:bulletEnabled val="1"/>
        </dgm:presLayoutVars>
      </dgm:prSet>
      <dgm:spPr>
        <a:xfrm>
          <a:off x="2903144" y="2105332"/>
          <a:ext cx="897634" cy="561021"/>
        </a:xfrm>
        <a:prstGeom prst="roundRect">
          <a:avLst>
            <a:gd name="adj" fmla="val 10000"/>
          </a:avLst>
        </a:prstGeom>
      </dgm:spPr>
    </dgm:pt>
    <dgm:pt modelId="{BEB443A0-BDD9-EC4C-9347-4016B3AFF79C}" type="pres">
      <dgm:prSet presAssocID="{08E4D433-C82D-6B4D-8DB3-EA333B4E418F}" presName="Name13" presStyleLbl="parChTrans1D2" presStyleIdx="8" presStyleCnt="20"/>
      <dgm:spPr/>
    </dgm:pt>
    <dgm:pt modelId="{BEF1671F-3DF5-494B-AE25-2434EBDA1A68}" type="pres">
      <dgm:prSet presAssocID="{3A8FFC6B-BF3F-0D49-A951-6E7772E893A0}" presName="childText" presStyleLbl="bgAcc1" presStyleIdx="8" presStyleCnt="20">
        <dgm:presLayoutVars>
          <dgm:bulletEnabled val="1"/>
        </dgm:presLayoutVars>
      </dgm:prSet>
      <dgm:spPr/>
    </dgm:pt>
    <dgm:pt modelId="{CB370BBE-A024-9A49-910B-F9983E11F7A8}" type="pres">
      <dgm:prSet presAssocID="{14DA0B7A-897A-7C41-9759-93C7D9C8F0EA}" presName="root" presStyleCnt="0"/>
      <dgm:spPr/>
    </dgm:pt>
    <dgm:pt modelId="{7B728FFD-E6EB-4248-AF75-26D3B09973CC}" type="pres">
      <dgm:prSet presAssocID="{14DA0B7A-897A-7C41-9759-93C7D9C8F0EA}" presName="rootComposite" presStyleCnt="0"/>
      <dgm:spPr/>
    </dgm:pt>
    <dgm:pt modelId="{7634BA55-D044-B248-8F77-5614E76D7120}" type="pres">
      <dgm:prSet presAssocID="{14DA0B7A-897A-7C41-9759-93C7D9C8F0EA}" presName="rootText" presStyleLbl="node1" presStyleIdx="2" presStyleCnt="5"/>
      <dgm:spPr/>
    </dgm:pt>
    <dgm:pt modelId="{2D2AA0B9-FFE1-3F4D-A350-15F910F3BD22}" type="pres">
      <dgm:prSet presAssocID="{14DA0B7A-897A-7C41-9759-93C7D9C8F0EA}" presName="rootConnector" presStyleLbl="node1" presStyleIdx="2" presStyleCnt="5"/>
      <dgm:spPr/>
    </dgm:pt>
    <dgm:pt modelId="{41D64697-6E39-5C4A-A402-EFBD9B357B22}" type="pres">
      <dgm:prSet presAssocID="{14DA0B7A-897A-7C41-9759-93C7D9C8F0EA}" presName="childShape" presStyleCnt="0"/>
      <dgm:spPr/>
    </dgm:pt>
    <dgm:pt modelId="{1AE04E00-72C6-3B42-81CF-52ED553CDC38}" type="pres">
      <dgm:prSet presAssocID="{401C2EE8-FE3D-0245-95E9-232E1246F33E}" presName="Name13" presStyleLbl="parChTrans1D2" presStyleIdx="9" presStyleCnt="20"/>
      <dgm:spPr/>
    </dgm:pt>
    <dgm:pt modelId="{357FEADB-5D8F-E343-88F9-3F0C634B3357}" type="pres">
      <dgm:prSet presAssocID="{D2DC4467-C2C2-8A4E-960B-CB89039407FD}" presName="childText" presStyleLbl="bgAcc1" presStyleIdx="9" presStyleCnt="20">
        <dgm:presLayoutVars>
          <dgm:bulletEnabled val="1"/>
        </dgm:presLayoutVars>
      </dgm:prSet>
      <dgm:spPr/>
    </dgm:pt>
    <dgm:pt modelId="{616DEDF7-72CD-4B41-826B-4210486F480B}" type="pres">
      <dgm:prSet presAssocID="{6DC3CD95-3A31-3D40-AA3D-5BB5D36AE273}" presName="Name13" presStyleLbl="parChTrans1D2" presStyleIdx="10" presStyleCnt="20"/>
      <dgm:spPr/>
    </dgm:pt>
    <dgm:pt modelId="{CE2BE487-796D-8A42-81EB-73B1FF7FA130}" type="pres">
      <dgm:prSet presAssocID="{9C97E3CD-9DB7-8547-A1AF-3A54690762ED}" presName="childText" presStyleLbl="bgAcc1" presStyleIdx="10" presStyleCnt="20">
        <dgm:presLayoutVars>
          <dgm:bulletEnabled val="1"/>
        </dgm:presLayoutVars>
      </dgm:prSet>
      <dgm:spPr>
        <a:xfrm>
          <a:off x="4305698" y="1404055"/>
          <a:ext cx="897634" cy="561021"/>
        </a:xfrm>
        <a:prstGeom prst="roundRect">
          <a:avLst>
            <a:gd name="adj" fmla="val 10000"/>
          </a:avLst>
        </a:prstGeom>
      </dgm:spPr>
    </dgm:pt>
    <dgm:pt modelId="{161E2220-9CCC-FC4A-8FB2-63C6E682F6DF}" type="pres">
      <dgm:prSet presAssocID="{D693665D-1E30-4E45-8191-F5B6A3F4DF1E}" presName="Name13" presStyleLbl="parChTrans1D2" presStyleIdx="11" presStyleCnt="20"/>
      <dgm:spPr/>
    </dgm:pt>
    <dgm:pt modelId="{4E24FB6B-4ED1-9B47-AF93-F82344D22B18}" type="pres">
      <dgm:prSet presAssocID="{4BB958FD-9F3E-B344-BCB4-42AC09735FE8}" presName="childText" presStyleLbl="bgAcc1" presStyleIdx="11" presStyleCnt="20">
        <dgm:presLayoutVars>
          <dgm:bulletEnabled val="1"/>
        </dgm:presLayoutVars>
      </dgm:prSet>
      <dgm:spPr/>
    </dgm:pt>
    <dgm:pt modelId="{62372CAD-8CEA-5249-B725-06E12ECDABED}" type="pres">
      <dgm:prSet presAssocID="{25AF418F-5566-C34D-9D1C-F75B9AAB8A1E}" presName="Name13" presStyleLbl="parChTrans1D2" presStyleIdx="12" presStyleCnt="20"/>
      <dgm:spPr/>
    </dgm:pt>
    <dgm:pt modelId="{B14971FA-8479-2647-910A-061B76333F31}" type="pres">
      <dgm:prSet presAssocID="{CD9F43A6-8F78-DE4D-81D1-D3D5306C0AA4}" presName="childText" presStyleLbl="bgAcc1" presStyleIdx="12" presStyleCnt="20">
        <dgm:presLayoutVars>
          <dgm:bulletEnabled val="1"/>
        </dgm:presLayoutVars>
      </dgm:prSet>
      <dgm:spPr/>
    </dgm:pt>
    <dgm:pt modelId="{0B92FC74-4071-764A-A2F7-8B7BC1055406}" type="pres">
      <dgm:prSet presAssocID="{83FDFBF5-3880-C34C-9F88-A7C7CC3A1EA2}" presName="root" presStyleCnt="0"/>
      <dgm:spPr/>
    </dgm:pt>
    <dgm:pt modelId="{7BE5EE51-5566-A34B-BEC5-6D9956914C98}" type="pres">
      <dgm:prSet presAssocID="{83FDFBF5-3880-C34C-9F88-A7C7CC3A1EA2}" presName="rootComposite" presStyleCnt="0"/>
      <dgm:spPr/>
    </dgm:pt>
    <dgm:pt modelId="{2FA8F23F-35CD-C54A-8783-629A03772AEC}" type="pres">
      <dgm:prSet presAssocID="{83FDFBF5-3880-C34C-9F88-A7C7CC3A1EA2}" presName="rootText" presStyleLbl="node1" presStyleIdx="3" presStyleCnt="5"/>
      <dgm:spPr/>
    </dgm:pt>
    <dgm:pt modelId="{40C13E8D-350F-9F47-8B40-A10BE8257C70}" type="pres">
      <dgm:prSet presAssocID="{83FDFBF5-3880-C34C-9F88-A7C7CC3A1EA2}" presName="rootConnector" presStyleLbl="node1" presStyleIdx="3" presStyleCnt="5"/>
      <dgm:spPr/>
    </dgm:pt>
    <dgm:pt modelId="{4DCBCE0A-FB7A-D648-968B-63FF67ACDB8C}" type="pres">
      <dgm:prSet presAssocID="{83FDFBF5-3880-C34C-9F88-A7C7CC3A1EA2}" presName="childShape" presStyleCnt="0"/>
      <dgm:spPr/>
    </dgm:pt>
    <dgm:pt modelId="{9E84B493-25F5-DF4D-8ECA-FEBA7BDB38A6}" type="pres">
      <dgm:prSet presAssocID="{8D01A9D7-1A6D-E144-B16A-654748C59E4C}" presName="Name13" presStyleLbl="parChTrans1D2" presStyleIdx="13" presStyleCnt="20"/>
      <dgm:spPr/>
    </dgm:pt>
    <dgm:pt modelId="{6383FD56-CDCD-2945-B041-9B16034E0889}" type="pres">
      <dgm:prSet presAssocID="{C064CADF-FE71-0043-B9BC-E5BAAFA28C01}" presName="childText" presStyleLbl="bgAcc1" presStyleIdx="13" presStyleCnt="20">
        <dgm:presLayoutVars>
          <dgm:bulletEnabled val="1"/>
        </dgm:presLayoutVars>
      </dgm:prSet>
      <dgm:spPr>
        <a:xfrm>
          <a:off x="5708252" y="702778"/>
          <a:ext cx="897634" cy="561021"/>
        </a:xfrm>
        <a:prstGeom prst="roundRect">
          <a:avLst>
            <a:gd name="adj" fmla="val 10000"/>
          </a:avLst>
        </a:prstGeom>
      </dgm:spPr>
    </dgm:pt>
    <dgm:pt modelId="{3FB2E1DB-7F77-A940-A44D-A2EBF02F6AA8}" type="pres">
      <dgm:prSet presAssocID="{CFA64A71-BA9D-FE4B-894D-C3B37A8B6732}" presName="Name13" presStyleLbl="parChTrans1D2" presStyleIdx="14" presStyleCnt="20"/>
      <dgm:spPr/>
    </dgm:pt>
    <dgm:pt modelId="{84AF0035-BFE5-2044-A7EB-39D21B6B4C23}" type="pres">
      <dgm:prSet presAssocID="{E048C408-DFFD-2A4B-AD60-BFF6809DC491}" presName="childText" presStyleLbl="bgAcc1" presStyleIdx="14" presStyleCnt="20">
        <dgm:presLayoutVars>
          <dgm:bulletEnabled val="1"/>
        </dgm:presLayoutVars>
      </dgm:prSet>
      <dgm:spPr/>
    </dgm:pt>
    <dgm:pt modelId="{6544270F-F7B6-E049-B33D-1DD08D2C8DA4}" type="pres">
      <dgm:prSet presAssocID="{3A825C8F-5C22-DC4C-9096-7603543CCA2E}" presName="Name13" presStyleLbl="parChTrans1D2" presStyleIdx="15" presStyleCnt="20"/>
      <dgm:spPr/>
    </dgm:pt>
    <dgm:pt modelId="{CD3B654E-F569-E741-95FD-BAEB3D862512}" type="pres">
      <dgm:prSet presAssocID="{800EA581-401F-E443-AF44-372A0410D0D3}" presName="childText" presStyleLbl="bgAcc1" presStyleIdx="15" presStyleCnt="20">
        <dgm:presLayoutVars>
          <dgm:bulletEnabled val="1"/>
        </dgm:presLayoutVars>
      </dgm:prSet>
      <dgm:spPr/>
    </dgm:pt>
    <dgm:pt modelId="{A766C9EF-D2E9-D042-A8CB-171425FDB28D}" type="pres">
      <dgm:prSet presAssocID="{09FD0A1D-78DE-F64D-BE33-9B33758A8E1E}" presName="Name13" presStyleLbl="parChTrans1D2" presStyleIdx="16" presStyleCnt="20"/>
      <dgm:spPr/>
    </dgm:pt>
    <dgm:pt modelId="{E6601567-ED76-D74F-A58C-75189A8C23BF}" type="pres">
      <dgm:prSet presAssocID="{C7CD03D8-0BB1-624B-B92E-3CA5BA861352}" presName="childText" presStyleLbl="bgAcc1" presStyleIdx="16" presStyleCnt="20">
        <dgm:presLayoutVars>
          <dgm:bulletEnabled val="1"/>
        </dgm:presLayoutVars>
      </dgm:prSet>
      <dgm:spPr/>
    </dgm:pt>
    <dgm:pt modelId="{4775D44D-645E-E249-ADDE-D82E8C608398}" type="pres">
      <dgm:prSet presAssocID="{C17C17C7-3F20-054E-AB0E-50F06C686A2A}" presName="Name13" presStyleLbl="parChTrans1D2" presStyleIdx="17" presStyleCnt="20"/>
      <dgm:spPr/>
    </dgm:pt>
    <dgm:pt modelId="{051EB7AD-8953-834A-8746-11F852A289E6}" type="pres">
      <dgm:prSet presAssocID="{AECD768C-62D5-FB40-9404-3DEB1DC0CCFC}" presName="childText" presStyleLbl="bgAcc1" presStyleIdx="17" presStyleCnt="20">
        <dgm:presLayoutVars>
          <dgm:bulletEnabled val="1"/>
        </dgm:presLayoutVars>
      </dgm:prSet>
      <dgm:spPr>
        <a:xfrm>
          <a:off x="5708252" y="3507886"/>
          <a:ext cx="897634" cy="561021"/>
        </a:xfrm>
        <a:prstGeom prst="roundRect">
          <a:avLst>
            <a:gd name="adj" fmla="val 10000"/>
          </a:avLst>
        </a:prstGeom>
      </dgm:spPr>
    </dgm:pt>
    <dgm:pt modelId="{719EB4DA-DF2C-5D44-A48A-750440292576}" type="pres">
      <dgm:prSet presAssocID="{AE805E67-4EA8-E44E-977C-CE7A6905D586}" presName="root" presStyleCnt="0"/>
      <dgm:spPr/>
    </dgm:pt>
    <dgm:pt modelId="{39FC2340-0F74-CF48-9C7B-51D8F6F2215E}" type="pres">
      <dgm:prSet presAssocID="{AE805E67-4EA8-E44E-977C-CE7A6905D586}" presName="rootComposite" presStyleCnt="0"/>
      <dgm:spPr/>
    </dgm:pt>
    <dgm:pt modelId="{F22BDB45-6DFC-C945-B9D7-19948CF5FF0A}" type="pres">
      <dgm:prSet presAssocID="{AE805E67-4EA8-E44E-977C-CE7A6905D586}" presName="rootText" presStyleLbl="node1" presStyleIdx="4" presStyleCnt="5"/>
      <dgm:spPr/>
    </dgm:pt>
    <dgm:pt modelId="{31ED4CE2-5851-2844-95C2-49FB992474CB}" type="pres">
      <dgm:prSet presAssocID="{AE805E67-4EA8-E44E-977C-CE7A6905D586}" presName="rootConnector" presStyleLbl="node1" presStyleIdx="4" presStyleCnt="5"/>
      <dgm:spPr/>
    </dgm:pt>
    <dgm:pt modelId="{43DD40E6-F2F7-A242-93A4-9837A08DBC2B}" type="pres">
      <dgm:prSet presAssocID="{AE805E67-4EA8-E44E-977C-CE7A6905D586}" presName="childShape" presStyleCnt="0"/>
      <dgm:spPr/>
    </dgm:pt>
    <dgm:pt modelId="{9BB28569-8A99-3547-82B9-E7AE7B791E8E}" type="pres">
      <dgm:prSet presAssocID="{980B70E5-30DC-1C47-A775-4EFAE7B3F939}" presName="Name13" presStyleLbl="parChTrans1D2" presStyleIdx="18" presStyleCnt="20"/>
      <dgm:spPr/>
    </dgm:pt>
    <dgm:pt modelId="{D6C47007-297A-9149-B858-94EACBFC3B98}" type="pres">
      <dgm:prSet presAssocID="{1E59CAD3-9F6E-FD4F-BAF7-EF4CC902E143}" presName="childText" presStyleLbl="bgAcc1" presStyleIdx="18" presStyleCnt="20">
        <dgm:presLayoutVars>
          <dgm:bulletEnabled val="1"/>
        </dgm:presLayoutVars>
      </dgm:prSet>
      <dgm:spPr/>
    </dgm:pt>
    <dgm:pt modelId="{57251F56-0827-F642-9213-6BAF8C24320C}" type="pres">
      <dgm:prSet presAssocID="{2891CC72-C4C8-4E42-8F5E-A6C8C6D002B0}" presName="Name13" presStyleLbl="parChTrans1D2" presStyleIdx="19" presStyleCnt="20"/>
      <dgm:spPr/>
    </dgm:pt>
    <dgm:pt modelId="{18EDD8C2-B42A-184F-9F26-A856FFE0B12C}" type="pres">
      <dgm:prSet presAssocID="{C2697DC4-583D-BB44-81DC-86E313B73653}" presName="childText" presStyleLbl="bgAcc1" presStyleIdx="19" presStyleCnt="20">
        <dgm:presLayoutVars>
          <dgm:bulletEnabled val="1"/>
        </dgm:presLayoutVars>
      </dgm:prSet>
      <dgm:spPr/>
    </dgm:pt>
  </dgm:ptLst>
  <dgm:cxnLst>
    <dgm:cxn modelId="{9FA96202-515E-3C49-91C4-665194E6AA8D}" srcId="{83FDFBF5-3880-C34C-9F88-A7C7CC3A1EA2}" destId="{C7CD03D8-0BB1-624B-B92E-3CA5BA861352}" srcOrd="3" destOrd="0" parTransId="{09FD0A1D-78DE-F64D-BE33-9B33758A8E1E}" sibTransId="{9CC5CB52-E772-2B46-B434-7D27450ECF4A}"/>
    <dgm:cxn modelId="{09E42F05-D932-BF4E-80E0-4EFDC24A69A1}" srcId="{83FDFBF5-3880-C34C-9F88-A7C7CC3A1EA2}" destId="{AECD768C-62D5-FB40-9404-3DEB1DC0CCFC}" srcOrd="4" destOrd="0" parTransId="{C17C17C7-3F20-054E-AB0E-50F06C686A2A}" sibTransId="{50838162-1AD2-C64B-8356-F56C7ECEFED2}"/>
    <dgm:cxn modelId="{B9744B05-315C-1D4E-9884-ED9FC951F1D3}" type="presOf" srcId="{F59CACE4-682F-7A4D-92F2-3B1FBBF01AE8}" destId="{C1B131E3-501B-D54B-87C3-86BF06BB35E8}" srcOrd="0" destOrd="0" presId="urn:microsoft.com/office/officeart/2005/8/layout/hierarchy3"/>
    <dgm:cxn modelId="{6DB2560D-48CD-2D42-BF81-51CF343477A9}" type="presOf" srcId="{401C2EE8-FE3D-0245-95E9-232E1246F33E}" destId="{1AE04E00-72C6-3B42-81CF-52ED553CDC38}" srcOrd="0" destOrd="0" presId="urn:microsoft.com/office/officeart/2005/8/layout/hierarchy3"/>
    <dgm:cxn modelId="{7E12AE0D-522E-EC46-8FDB-540AF41BDCF9}" type="presOf" srcId="{CD9F43A6-8F78-DE4D-81D1-D3D5306C0AA4}" destId="{B14971FA-8479-2647-910A-061B76333F31}" srcOrd="0" destOrd="0" presId="urn:microsoft.com/office/officeart/2005/8/layout/hierarchy3"/>
    <dgm:cxn modelId="{3A7D9C13-BA99-1341-9604-4229A9B67365}" srcId="{83FDFBF5-3880-C34C-9F88-A7C7CC3A1EA2}" destId="{E048C408-DFFD-2A4B-AD60-BFF6809DC491}" srcOrd="1" destOrd="0" parTransId="{CFA64A71-BA9D-FE4B-894D-C3B37A8B6732}" sibTransId="{F7F02BF2-BF8D-0A4E-A604-49385B5ECEA1}"/>
    <dgm:cxn modelId="{01896116-DAA8-3949-A83D-F92C3EFC0C8F}" type="presOf" srcId="{D693665D-1E30-4E45-8191-F5B6A3F4DF1E}" destId="{161E2220-9CCC-FC4A-8FB2-63C6E682F6DF}" srcOrd="0" destOrd="0" presId="urn:microsoft.com/office/officeart/2005/8/layout/hierarchy3"/>
    <dgm:cxn modelId="{40105A16-B8B1-AD44-99B7-8191C901FA57}" srcId="{14DA0B7A-897A-7C41-9759-93C7D9C8F0EA}" destId="{D2DC4467-C2C2-8A4E-960B-CB89039407FD}" srcOrd="0" destOrd="0" parTransId="{401C2EE8-FE3D-0245-95E9-232E1246F33E}" sibTransId="{0BE55F7B-756E-6142-BD65-272D8B129CD6}"/>
    <dgm:cxn modelId="{CF2A3B17-711A-ED41-8ECA-3798692E44B7}" type="presOf" srcId="{1A43F41A-952A-8D4A-96DD-5994AED170B7}" destId="{EC7CC600-EAD4-7449-B71C-71141DC3A933}" srcOrd="0" destOrd="0" presId="urn:microsoft.com/office/officeart/2005/8/layout/hierarchy3"/>
    <dgm:cxn modelId="{4C77EC17-18E6-3D42-8379-B519A28EC777}" type="presOf" srcId="{C064CADF-FE71-0043-B9BC-E5BAAFA28C01}" destId="{6383FD56-CDCD-2945-B041-9B16034E0889}" srcOrd="0" destOrd="0" presId="urn:microsoft.com/office/officeart/2005/8/layout/hierarchy3"/>
    <dgm:cxn modelId="{33ACCC18-5A2F-F04F-9F3E-FC1215629D5A}" srcId="{E45252E5-FABB-8C40-806C-3AFF4E75FCE9}" destId="{3A8FFC6B-BF3F-0D49-A951-6E7772E893A0}" srcOrd="3" destOrd="0" parTransId="{08E4D433-C82D-6B4D-8DB3-EA333B4E418F}" sibTransId="{A7370645-CD41-2C49-8423-6BDAF87D87E7}"/>
    <dgm:cxn modelId="{5921D81E-C961-5041-A1DF-0F2C4F7553B6}" srcId="{6D9B0BE5-F451-AE44-9B29-AE62DFDE9BAD}" destId="{A93A9E4C-E7D0-FD43-9FB4-8DBFA8D52D70}" srcOrd="0" destOrd="0" parTransId="{2A68335A-5EE8-7946-BC00-E2667CBF3CE7}" sibTransId="{9B94EF06-5AEB-7C4E-95D8-9DB2D3C38CA9}"/>
    <dgm:cxn modelId="{26D1301F-3E25-9446-8E54-71B0C9DB513A}" type="presOf" srcId="{93922F64-2A70-7F4F-A483-8B65EADE1C56}" destId="{5829D355-4F9B-754E-8384-23AF734D3DC1}" srcOrd="0" destOrd="0" presId="urn:microsoft.com/office/officeart/2005/8/layout/hierarchy3"/>
    <dgm:cxn modelId="{3B755B28-7371-B34D-A565-29324668190F}" srcId="{E45252E5-FABB-8C40-806C-3AFF4E75FCE9}" destId="{206D0424-0AA5-1944-8E06-3FA46661E66D}" srcOrd="2" destOrd="0" parTransId="{B91791F1-5F93-AB4C-84CF-846BC1547244}" sibTransId="{698EEEE6-E658-E842-A101-A179B9FDF06D}"/>
    <dgm:cxn modelId="{7480D72E-87E8-AA48-BC7C-7F79AAF4E0A7}" srcId="{A93A9E4C-E7D0-FD43-9FB4-8DBFA8D52D70}" destId="{5795DD57-74CB-CB48-8D1D-45DA4D8935E8}" srcOrd="2" destOrd="0" parTransId="{6AFE073A-80E7-F748-9A7F-B9B70E9AE933}" sibTransId="{EECE744A-6A32-6E4F-BC5F-ABDF090D22B7}"/>
    <dgm:cxn modelId="{1D7A922F-C6D5-7645-9B9F-21AF5EB2B4BD}" srcId="{A93A9E4C-E7D0-FD43-9FB4-8DBFA8D52D70}" destId="{9C8C6F10-0861-024F-B313-D860E27B22FC}" srcOrd="4" destOrd="0" parTransId="{F59CACE4-682F-7A4D-92F2-3B1FBBF01AE8}" sibTransId="{A5B2F138-9715-E242-8CC8-A027957736BF}"/>
    <dgm:cxn modelId="{422E7F31-46EA-1842-938B-AF95BDFD3EB1}" type="presOf" srcId="{E45252E5-FABB-8C40-806C-3AFF4E75FCE9}" destId="{242389FB-B41A-B840-98D8-A9B4FB6A89AF}" srcOrd="1" destOrd="0" presId="urn:microsoft.com/office/officeart/2005/8/layout/hierarchy3"/>
    <dgm:cxn modelId="{C1A03934-86C5-6940-9153-14D4E150D996}" type="presOf" srcId="{3A8FFC6B-BF3F-0D49-A951-6E7772E893A0}" destId="{BEF1671F-3DF5-494B-AE25-2434EBDA1A68}" srcOrd="0" destOrd="0" presId="urn:microsoft.com/office/officeart/2005/8/layout/hierarchy3"/>
    <dgm:cxn modelId="{1BC6F63C-4AC8-1642-A05C-26E8EBB61712}" type="presOf" srcId="{FC20E98D-423C-7D44-9229-F20C9684638E}" destId="{3F514349-0FED-5C41-B786-EE797FD6A6ED}" srcOrd="0" destOrd="0" presId="urn:microsoft.com/office/officeart/2005/8/layout/hierarchy3"/>
    <dgm:cxn modelId="{1FA17740-8D53-FD48-B482-BDF3744E9C54}" type="presOf" srcId="{83FDFBF5-3880-C34C-9F88-A7C7CC3A1EA2}" destId="{2FA8F23F-35CD-C54A-8783-629A03772AEC}" srcOrd="0" destOrd="0" presId="urn:microsoft.com/office/officeart/2005/8/layout/hierarchy3"/>
    <dgm:cxn modelId="{FC1D885C-3BE2-ED45-B4C5-D641E41604DD}" type="presOf" srcId="{206D0424-0AA5-1944-8E06-3FA46661E66D}" destId="{0F6014B9-FF15-0546-AA04-F591028B596A}" srcOrd="0" destOrd="0" presId="urn:microsoft.com/office/officeart/2005/8/layout/hierarchy3"/>
    <dgm:cxn modelId="{31833D60-5A4F-B342-8B7D-1E719B031821}" type="presOf" srcId="{14DA0B7A-897A-7C41-9759-93C7D9C8F0EA}" destId="{2D2AA0B9-FFE1-3F4D-A350-15F910F3BD22}" srcOrd="1" destOrd="0" presId="urn:microsoft.com/office/officeart/2005/8/layout/hierarchy3"/>
    <dgm:cxn modelId="{17B64441-6710-BD4B-8BCA-12D6D8C2AD54}" srcId="{E45252E5-FABB-8C40-806C-3AFF4E75FCE9}" destId="{1A43F41A-952A-8D4A-96DD-5994AED170B7}" srcOrd="0" destOrd="0" parTransId="{CA5D1486-C56C-594C-905E-13012BA57F9F}" sibTransId="{DB309734-0602-A845-82B0-D06B8580D2C4}"/>
    <dgm:cxn modelId="{D0BF5D62-171E-A64E-82C8-F25983BB92BD}" type="presOf" srcId="{CFA64A71-BA9D-FE4B-894D-C3B37A8B6732}" destId="{3FB2E1DB-7F77-A940-A44D-A2EBF02F6AA8}" srcOrd="0" destOrd="0" presId="urn:microsoft.com/office/officeart/2005/8/layout/hierarchy3"/>
    <dgm:cxn modelId="{DD057864-9C5A-E047-A536-26334F798C70}" type="presOf" srcId="{A1220BA8-1B0D-E947-ACEC-A4409A4A2808}" destId="{59399A21-1752-9641-909F-1DF60D99EC93}" srcOrd="0" destOrd="0" presId="urn:microsoft.com/office/officeart/2005/8/layout/hierarchy3"/>
    <dgm:cxn modelId="{1E507A44-E85E-BD44-8AE9-96B0AC8C1A42}" type="presOf" srcId="{CA5D1486-C56C-594C-905E-13012BA57F9F}" destId="{BA439008-8DC7-6F4F-BB51-CC1D048D6E8D}" srcOrd="0" destOrd="0" presId="urn:microsoft.com/office/officeart/2005/8/layout/hierarchy3"/>
    <dgm:cxn modelId="{1F00DB48-0FCB-5847-A613-168E30AD5D52}" srcId="{14DA0B7A-897A-7C41-9759-93C7D9C8F0EA}" destId="{4BB958FD-9F3E-B344-BCB4-42AC09735FE8}" srcOrd="2" destOrd="0" parTransId="{D693665D-1E30-4E45-8191-F5B6A3F4DF1E}" sibTransId="{765EEAB1-1780-D844-ACD9-03EC80212351}"/>
    <dgm:cxn modelId="{304BDA6B-E80F-1344-BCDA-447D5B7EB33F}" type="presOf" srcId="{09FD0A1D-78DE-F64D-BE33-9B33758A8E1E}" destId="{A766C9EF-D2E9-D042-A8CB-171425FDB28D}" srcOrd="0" destOrd="0" presId="urn:microsoft.com/office/officeart/2005/8/layout/hierarchy3"/>
    <dgm:cxn modelId="{764B904C-0C90-1D47-B00A-93158B315DC3}" type="presOf" srcId="{EE0E0967-FB18-3843-A445-F9E668C5B807}" destId="{D5ADA3D3-42F7-7E46-8A26-E9B8F121314A}" srcOrd="0" destOrd="0" presId="urn:microsoft.com/office/officeart/2005/8/layout/hierarchy3"/>
    <dgm:cxn modelId="{90856C6D-59AF-7845-B43D-5B779ED3970C}" type="presOf" srcId="{2891CC72-C4C8-4E42-8F5E-A6C8C6D002B0}" destId="{57251F56-0827-F642-9213-6BAF8C24320C}" srcOrd="0" destOrd="0" presId="urn:microsoft.com/office/officeart/2005/8/layout/hierarchy3"/>
    <dgm:cxn modelId="{2E115C4E-A52D-6E41-B32B-64B74BE1FB86}" type="presOf" srcId="{42BF2C42-76AF-0C47-87F9-E812DD474A24}" destId="{0D6F72C5-DE37-E941-AD44-5970467C2A96}" srcOrd="0" destOrd="0" presId="urn:microsoft.com/office/officeart/2005/8/layout/hierarchy3"/>
    <dgm:cxn modelId="{92CD9F4E-7FF0-3044-8C4B-349A53ADB399}" type="presOf" srcId="{980B70E5-30DC-1C47-A775-4EFAE7B3F939}" destId="{9BB28569-8A99-3547-82B9-E7AE7B791E8E}" srcOrd="0" destOrd="0" presId="urn:microsoft.com/office/officeart/2005/8/layout/hierarchy3"/>
    <dgm:cxn modelId="{8CF87370-DE7F-9646-9A2B-61A5AE050003}" type="presOf" srcId="{6D9B0BE5-F451-AE44-9B29-AE62DFDE9BAD}" destId="{16F309D4-BE1B-8D44-A2FF-C8BCEAD0DD2A}" srcOrd="0" destOrd="0" presId="urn:microsoft.com/office/officeart/2005/8/layout/hierarchy3"/>
    <dgm:cxn modelId="{8FC8EF50-D043-FC49-BE59-70DF4549758F}" type="presOf" srcId="{AECD768C-62D5-FB40-9404-3DEB1DC0CCFC}" destId="{051EB7AD-8953-834A-8746-11F852A289E6}" srcOrd="0" destOrd="0" presId="urn:microsoft.com/office/officeart/2005/8/layout/hierarchy3"/>
    <dgm:cxn modelId="{6115F670-DD6A-C74D-9557-773A346C44E4}" type="presOf" srcId="{5C410414-BDEA-A640-9DBE-2BE4F41CC57A}" destId="{169F2B92-7101-9A4A-83D1-C2CF5AF28505}" srcOrd="0" destOrd="0" presId="urn:microsoft.com/office/officeart/2005/8/layout/hierarchy3"/>
    <dgm:cxn modelId="{4A10DA72-FCC5-FC4A-AF9C-F3998FD472BA}" type="presOf" srcId="{0CD26FE5-FCFA-4E44-BF9A-A90E33BD5F9A}" destId="{0802B708-C3AC-C64A-B8CF-25D102BF4DB4}" srcOrd="0" destOrd="0" presId="urn:microsoft.com/office/officeart/2005/8/layout/hierarchy3"/>
    <dgm:cxn modelId="{79208053-7846-E842-AAEA-CC0A69602FC3}" srcId="{83FDFBF5-3880-C34C-9F88-A7C7CC3A1EA2}" destId="{C064CADF-FE71-0043-B9BC-E5BAAFA28C01}" srcOrd="0" destOrd="0" parTransId="{8D01A9D7-1A6D-E144-B16A-654748C59E4C}" sibTransId="{24D9B3E1-21EF-B34D-9245-1F0C4390EE86}"/>
    <dgm:cxn modelId="{842A8A73-44ED-D04D-A21E-5C6A9F8705D8}" type="presOf" srcId="{AE805E67-4EA8-E44E-977C-CE7A6905D586}" destId="{F22BDB45-6DFC-C945-B9D7-19948CF5FF0A}" srcOrd="0" destOrd="0" presId="urn:microsoft.com/office/officeart/2005/8/layout/hierarchy3"/>
    <dgm:cxn modelId="{E804DC53-26CC-F14E-ABF9-23DEE0643A2C}" type="presOf" srcId="{9C97E3CD-9DB7-8547-A1AF-3A54690762ED}" destId="{CE2BE487-796D-8A42-81EB-73B1FF7FA130}" srcOrd="0" destOrd="0" presId="urn:microsoft.com/office/officeart/2005/8/layout/hierarchy3"/>
    <dgm:cxn modelId="{69F92576-9309-E745-9A21-8F919710357A}" type="presOf" srcId="{6AFE073A-80E7-F748-9A7F-B9B70E9AE933}" destId="{0D5AF32C-FEAC-B940-AEF9-113FD4C540C5}" srcOrd="0" destOrd="0" presId="urn:microsoft.com/office/officeart/2005/8/layout/hierarchy3"/>
    <dgm:cxn modelId="{DB4EC656-ABC6-6D4E-B554-AE1B78AAA0C0}" type="presOf" srcId="{A93A9E4C-E7D0-FD43-9FB4-8DBFA8D52D70}" destId="{4D8ABC0C-6D7F-824A-921B-618D8A3A8EB1}" srcOrd="0" destOrd="0" presId="urn:microsoft.com/office/officeart/2005/8/layout/hierarchy3"/>
    <dgm:cxn modelId="{0BA8BA77-5553-7048-B6CE-F7CC620E0277}" type="presOf" srcId="{A93A9E4C-E7D0-FD43-9FB4-8DBFA8D52D70}" destId="{2909E014-6738-864A-AF59-65F10CC999ED}" srcOrd="1" destOrd="0" presId="urn:microsoft.com/office/officeart/2005/8/layout/hierarchy3"/>
    <dgm:cxn modelId="{19F2C278-3ED6-624B-846E-1D24306497A7}" type="presOf" srcId="{800EA581-401F-E443-AF44-372A0410D0D3}" destId="{CD3B654E-F569-E741-95FD-BAEB3D862512}" srcOrd="0" destOrd="0" presId="urn:microsoft.com/office/officeart/2005/8/layout/hierarchy3"/>
    <dgm:cxn modelId="{2775CB78-E82B-E549-8A3F-819F5E453A5C}" type="presOf" srcId="{E45252E5-FABB-8C40-806C-3AFF4E75FCE9}" destId="{587C74AE-3394-DC49-8CB1-76A0BCD058A4}" srcOrd="0" destOrd="0" presId="urn:microsoft.com/office/officeart/2005/8/layout/hierarchy3"/>
    <dgm:cxn modelId="{DE60B85A-F816-F548-8517-AEBBF49030C1}" srcId="{83FDFBF5-3880-C34C-9F88-A7C7CC3A1EA2}" destId="{800EA581-401F-E443-AF44-372A0410D0D3}" srcOrd="2" destOrd="0" parTransId="{3A825C8F-5C22-DC4C-9096-7603543CCA2E}" sibTransId="{65ADC1C0-435E-EB48-80C5-F08981257D68}"/>
    <dgm:cxn modelId="{64AB747B-70D3-BB4D-B4F4-9B27A1465802}" srcId="{6D9B0BE5-F451-AE44-9B29-AE62DFDE9BAD}" destId="{E45252E5-FABB-8C40-806C-3AFF4E75FCE9}" srcOrd="1" destOrd="0" parTransId="{EFF56ECC-82CF-9E48-8A6B-9F7BE1AD3166}" sibTransId="{52E1C086-FA7D-2241-9528-6BB9F16171F3}"/>
    <dgm:cxn modelId="{BDEB8E7B-74D9-3F40-AB9C-CBBECFEC1C92}" type="presOf" srcId="{08E4D433-C82D-6B4D-8DB3-EA333B4E418F}" destId="{BEB443A0-BDD9-EC4C-9347-4016B3AFF79C}" srcOrd="0" destOrd="0" presId="urn:microsoft.com/office/officeart/2005/8/layout/hierarchy3"/>
    <dgm:cxn modelId="{DCCAE682-29A8-0849-9091-0A0A80156B79}" srcId="{AE805E67-4EA8-E44E-977C-CE7A6905D586}" destId="{C2697DC4-583D-BB44-81DC-86E313B73653}" srcOrd="1" destOrd="0" parTransId="{2891CC72-C4C8-4E42-8F5E-A6C8C6D002B0}" sibTransId="{5EAE4E19-5AB0-564F-8904-3BC7AAA9AD5C}"/>
    <dgm:cxn modelId="{F0593E88-DE20-114A-A748-1E4C4F5E9767}" srcId="{6D9B0BE5-F451-AE44-9B29-AE62DFDE9BAD}" destId="{AE805E67-4EA8-E44E-977C-CE7A6905D586}" srcOrd="4" destOrd="0" parTransId="{F62ACB79-F0B7-564F-A02E-275C0C646988}" sibTransId="{20A19F98-901A-124B-B679-5A49740AA061}"/>
    <dgm:cxn modelId="{E0F4008E-2A0A-B349-92CF-45D0737555E8}" type="presOf" srcId="{E048C408-DFFD-2A4B-AD60-BFF6809DC491}" destId="{84AF0035-BFE5-2044-A7EB-39D21B6B4C23}" srcOrd="0" destOrd="0" presId="urn:microsoft.com/office/officeart/2005/8/layout/hierarchy3"/>
    <dgm:cxn modelId="{34CBF193-134B-6B43-B30A-817625E37737}" type="presOf" srcId="{8D01A9D7-1A6D-E144-B16A-654748C59E4C}" destId="{9E84B493-25F5-DF4D-8ECA-FEBA7BDB38A6}" srcOrd="0" destOrd="0" presId="urn:microsoft.com/office/officeart/2005/8/layout/hierarchy3"/>
    <dgm:cxn modelId="{B6C94F95-56C7-5541-96EF-5D3833EC2A4D}" srcId="{14DA0B7A-897A-7C41-9759-93C7D9C8F0EA}" destId="{CD9F43A6-8F78-DE4D-81D1-D3D5306C0AA4}" srcOrd="3" destOrd="0" parTransId="{25AF418F-5566-C34D-9D1C-F75B9AAB8A1E}" sibTransId="{5FF41155-7CC2-554A-BBF3-93BD3CA9CC63}"/>
    <dgm:cxn modelId="{EF9362A2-405C-7740-82F7-8CFA0597F37F}" type="presOf" srcId="{25AF418F-5566-C34D-9D1C-F75B9AAB8A1E}" destId="{62372CAD-8CEA-5249-B725-06E12ECDABED}" srcOrd="0" destOrd="0" presId="urn:microsoft.com/office/officeart/2005/8/layout/hierarchy3"/>
    <dgm:cxn modelId="{84022DA8-60A0-8040-BA6E-4D9603A0ABCD}" type="presOf" srcId="{9C8C6F10-0861-024F-B313-D860E27B22FC}" destId="{4A6CB5A3-1BA1-7E4B-8C56-627C34B6ECD3}" srcOrd="0" destOrd="0" presId="urn:microsoft.com/office/officeart/2005/8/layout/hierarchy3"/>
    <dgm:cxn modelId="{FB0CF7AB-B4A5-1748-B93F-F032F0819793}" srcId="{A93A9E4C-E7D0-FD43-9FB4-8DBFA8D52D70}" destId="{42BF2C42-76AF-0C47-87F9-E812DD474A24}" srcOrd="0" destOrd="0" parTransId="{FC20E98D-423C-7D44-9229-F20C9684638E}" sibTransId="{8AB44F8F-7C12-D34C-A8C0-B88B856282B8}"/>
    <dgm:cxn modelId="{0A54F1AF-3960-3D49-A5E6-4BA74566915F}" type="presOf" srcId="{D2DC4467-C2C2-8A4E-960B-CB89039407FD}" destId="{357FEADB-5D8F-E343-88F9-3F0C634B3357}" srcOrd="0" destOrd="0" presId="urn:microsoft.com/office/officeart/2005/8/layout/hierarchy3"/>
    <dgm:cxn modelId="{84993AB0-7075-DE4A-A5B4-9CAF94740A6F}" srcId="{6D9B0BE5-F451-AE44-9B29-AE62DFDE9BAD}" destId="{14DA0B7A-897A-7C41-9759-93C7D9C8F0EA}" srcOrd="2" destOrd="0" parTransId="{D2B86BAF-5275-4D4D-9C82-E31191138425}" sibTransId="{E0F68FFC-15D7-CF4B-8542-EE341028D7F9}"/>
    <dgm:cxn modelId="{766315B9-456E-A14A-96C1-A2609D6920F7}" type="presOf" srcId="{AE805E67-4EA8-E44E-977C-CE7A6905D586}" destId="{31ED4CE2-5851-2844-95C2-49FB992474CB}" srcOrd="1" destOrd="0" presId="urn:microsoft.com/office/officeart/2005/8/layout/hierarchy3"/>
    <dgm:cxn modelId="{6EC459BA-D71B-7040-AEDD-DB606535CBAA}" type="presOf" srcId="{1E59CAD3-9F6E-FD4F-BAF7-EF4CC902E143}" destId="{D6C47007-297A-9149-B858-94EACBFC3B98}" srcOrd="0" destOrd="0" presId="urn:microsoft.com/office/officeart/2005/8/layout/hierarchy3"/>
    <dgm:cxn modelId="{FEA9FBBB-6DAF-E94D-A4C7-F9E9D754E30E}" srcId="{A93A9E4C-E7D0-FD43-9FB4-8DBFA8D52D70}" destId="{93922F64-2A70-7F4F-A483-8B65EADE1C56}" srcOrd="1" destOrd="0" parTransId="{EE0E0967-FB18-3843-A445-F9E668C5B807}" sibTransId="{CE6E5C10-3507-BA4C-AF7F-50D58E676809}"/>
    <dgm:cxn modelId="{220697BC-ECB0-6F40-A373-FDB1B18513D5}" type="presOf" srcId="{C2697DC4-583D-BB44-81DC-86E313B73653}" destId="{18EDD8C2-B42A-184F-9F26-A856FFE0B12C}" srcOrd="0" destOrd="0" presId="urn:microsoft.com/office/officeart/2005/8/layout/hierarchy3"/>
    <dgm:cxn modelId="{20B2D8C2-CC12-E14E-A137-A971307D7851}" type="presOf" srcId="{299921CB-0981-C243-BCFB-6CDAF30964CE}" destId="{E10A6EA2-0E21-A04F-8004-BFC9A0538066}" srcOrd="0" destOrd="0" presId="urn:microsoft.com/office/officeart/2005/8/layout/hierarchy3"/>
    <dgm:cxn modelId="{E19B29CC-4B47-A248-A933-348EF617BFEA}" type="presOf" srcId="{14DA0B7A-897A-7C41-9759-93C7D9C8F0EA}" destId="{7634BA55-D044-B248-8F77-5614E76D7120}" srcOrd="0" destOrd="0" presId="urn:microsoft.com/office/officeart/2005/8/layout/hierarchy3"/>
    <dgm:cxn modelId="{FD45B4CC-1061-D64E-B79A-50AD45A594E3}" type="presOf" srcId="{C7CD03D8-0BB1-624B-B92E-3CA5BA861352}" destId="{E6601567-ED76-D74F-A58C-75189A8C23BF}" srcOrd="0" destOrd="0" presId="urn:microsoft.com/office/officeart/2005/8/layout/hierarchy3"/>
    <dgm:cxn modelId="{DBFDD6D2-463A-244E-921C-BC50EE2E21EB}" srcId="{6D9B0BE5-F451-AE44-9B29-AE62DFDE9BAD}" destId="{83FDFBF5-3880-C34C-9F88-A7C7CC3A1EA2}" srcOrd="3" destOrd="0" parTransId="{64C92EAF-A4BF-6240-8D33-6CF3A1E0E8EA}" sibTransId="{1A6786D2-A08D-E049-AFB2-E72E5DCEFF2F}"/>
    <dgm:cxn modelId="{CC259FDC-0070-7846-BA7C-099DAD703AA8}" type="presOf" srcId="{5795DD57-74CB-CB48-8D1D-45DA4D8935E8}" destId="{710A9C0B-B81D-0947-8B02-F4620CE15477}" srcOrd="0" destOrd="0" presId="urn:microsoft.com/office/officeart/2005/8/layout/hierarchy3"/>
    <dgm:cxn modelId="{734892DE-FDEE-7B41-B2D4-8FEC6A9B44CA}" type="presOf" srcId="{4BB958FD-9F3E-B344-BCB4-42AC09735FE8}" destId="{4E24FB6B-4ED1-9B47-AF93-F82344D22B18}" srcOrd="0" destOrd="0" presId="urn:microsoft.com/office/officeart/2005/8/layout/hierarchy3"/>
    <dgm:cxn modelId="{9F38D6DF-A223-6049-A909-B12B6257A626}" type="presOf" srcId="{83FDFBF5-3880-C34C-9F88-A7C7CC3A1EA2}" destId="{40C13E8D-350F-9F47-8B40-A10BE8257C70}" srcOrd="1" destOrd="0" presId="urn:microsoft.com/office/officeart/2005/8/layout/hierarchy3"/>
    <dgm:cxn modelId="{D87A6AE3-457A-7F49-BC7C-2DA8C0DD5F83}" type="presOf" srcId="{C17C17C7-3F20-054E-AB0E-50F06C686A2A}" destId="{4775D44D-645E-E249-ADDE-D82E8C608398}" srcOrd="0" destOrd="0" presId="urn:microsoft.com/office/officeart/2005/8/layout/hierarchy3"/>
    <dgm:cxn modelId="{D65BBDE4-4619-9C49-A3E3-CB9EDAD0E371}" srcId="{14DA0B7A-897A-7C41-9759-93C7D9C8F0EA}" destId="{9C97E3CD-9DB7-8547-A1AF-3A54690762ED}" srcOrd="1" destOrd="0" parTransId="{6DC3CD95-3A31-3D40-AA3D-5BB5D36AE273}" sibTransId="{DF5AEB34-CC70-9749-8E94-6A2405799434}"/>
    <dgm:cxn modelId="{9AC4EEE6-314F-4345-8177-4E31B3AF23D6}" srcId="{A93A9E4C-E7D0-FD43-9FB4-8DBFA8D52D70}" destId="{5C410414-BDEA-A640-9DBE-2BE4F41CC57A}" srcOrd="3" destOrd="0" parTransId="{A1220BA8-1B0D-E947-ACEC-A4409A4A2808}" sibTransId="{73A0378E-2B63-B546-A1F3-E2DC0D0C8CC6}"/>
    <dgm:cxn modelId="{2C19F8E8-0D8F-134E-A275-7295F0D01BF9}" type="presOf" srcId="{3A825C8F-5C22-DC4C-9096-7603543CCA2E}" destId="{6544270F-F7B6-E049-B33D-1DD08D2C8DA4}" srcOrd="0" destOrd="0" presId="urn:microsoft.com/office/officeart/2005/8/layout/hierarchy3"/>
    <dgm:cxn modelId="{28C1EFEC-847E-D94B-80CB-1F03F9E8CDE9}" type="presOf" srcId="{6DC3CD95-3A31-3D40-AA3D-5BB5D36AE273}" destId="{616DEDF7-72CD-4B41-826B-4210486F480B}" srcOrd="0" destOrd="0" presId="urn:microsoft.com/office/officeart/2005/8/layout/hierarchy3"/>
    <dgm:cxn modelId="{AD9328ED-D8F1-7442-BACD-CAD6807A04BD}" srcId="{E45252E5-FABB-8C40-806C-3AFF4E75FCE9}" destId="{0CD26FE5-FCFA-4E44-BF9A-A90E33BD5F9A}" srcOrd="1" destOrd="0" parTransId="{299921CB-0981-C243-BCFB-6CDAF30964CE}" sibTransId="{70716163-2DCF-E44A-B350-F696C702CFC1}"/>
    <dgm:cxn modelId="{33DB90F8-2E29-F641-B617-05D1BC714D2C}" type="presOf" srcId="{B91791F1-5F93-AB4C-84CF-846BC1547244}" destId="{BF408421-FF0A-F54E-B93E-57AA7AC549C4}" srcOrd="0" destOrd="0" presId="urn:microsoft.com/office/officeart/2005/8/layout/hierarchy3"/>
    <dgm:cxn modelId="{43A62CFB-DBB4-D84F-A6CA-4777F4553E76}" srcId="{AE805E67-4EA8-E44E-977C-CE7A6905D586}" destId="{1E59CAD3-9F6E-FD4F-BAF7-EF4CC902E143}" srcOrd="0" destOrd="0" parTransId="{980B70E5-30DC-1C47-A775-4EFAE7B3F939}" sibTransId="{DBDD853A-F9F1-8F4C-928D-3D6FA5A0F10C}"/>
    <dgm:cxn modelId="{D3220C37-E2C3-4C4E-AA93-15FD89E2472B}" type="presParOf" srcId="{16F309D4-BE1B-8D44-A2FF-C8BCEAD0DD2A}" destId="{3DDC912D-8E1C-FC40-8BE1-FC7633F2A656}" srcOrd="0" destOrd="0" presId="urn:microsoft.com/office/officeart/2005/8/layout/hierarchy3"/>
    <dgm:cxn modelId="{9ADB68FA-A7F9-3745-BB45-01339E8779E8}" type="presParOf" srcId="{3DDC912D-8E1C-FC40-8BE1-FC7633F2A656}" destId="{D2840C6D-7CF9-004A-B564-C355E09D9DF8}" srcOrd="0" destOrd="0" presId="urn:microsoft.com/office/officeart/2005/8/layout/hierarchy3"/>
    <dgm:cxn modelId="{0C746B87-24E9-9F48-9FE9-38C450DB1E52}" type="presParOf" srcId="{D2840C6D-7CF9-004A-B564-C355E09D9DF8}" destId="{4D8ABC0C-6D7F-824A-921B-618D8A3A8EB1}" srcOrd="0" destOrd="0" presId="urn:microsoft.com/office/officeart/2005/8/layout/hierarchy3"/>
    <dgm:cxn modelId="{8E24946D-DB69-B14A-8BFA-9E05F588A772}" type="presParOf" srcId="{D2840C6D-7CF9-004A-B564-C355E09D9DF8}" destId="{2909E014-6738-864A-AF59-65F10CC999ED}" srcOrd="1" destOrd="0" presId="urn:microsoft.com/office/officeart/2005/8/layout/hierarchy3"/>
    <dgm:cxn modelId="{A682594D-48BA-FE45-AB92-1ADA5EB6DDD1}" type="presParOf" srcId="{3DDC912D-8E1C-FC40-8BE1-FC7633F2A656}" destId="{12C4B6BF-E8D8-AE43-A701-F7E2A777D60C}" srcOrd="1" destOrd="0" presId="urn:microsoft.com/office/officeart/2005/8/layout/hierarchy3"/>
    <dgm:cxn modelId="{BE1BDB44-1774-1F4C-A113-0638E30C683F}" type="presParOf" srcId="{12C4B6BF-E8D8-AE43-A701-F7E2A777D60C}" destId="{3F514349-0FED-5C41-B786-EE797FD6A6ED}" srcOrd="0" destOrd="0" presId="urn:microsoft.com/office/officeart/2005/8/layout/hierarchy3"/>
    <dgm:cxn modelId="{5DA1E458-49CA-3546-92BB-95E0C247C6F0}" type="presParOf" srcId="{12C4B6BF-E8D8-AE43-A701-F7E2A777D60C}" destId="{0D6F72C5-DE37-E941-AD44-5970467C2A96}" srcOrd="1" destOrd="0" presId="urn:microsoft.com/office/officeart/2005/8/layout/hierarchy3"/>
    <dgm:cxn modelId="{41D5C485-127D-C84D-B7BA-2DC5A4BF37ED}" type="presParOf" srcId="{12C4B6BF-E8D8-AE43-A701-F7E2A777D60C}" destId="{D5ADA3D3-42F7-7E46-8A26-E9B8F121314A}" srcOrd="2" destOrd="0" presId="urn:microsoft.com/office/officeart/2005/8/layout/hierarchy3"/>
    <dgm:cxn modelId="{5DFC6AB2-0B61-9548-B1A7-9675716A15BF}" type="presParOf" srcId="{12C4B6BF-E8D8-AE43-A701-F7E2A777D60C}" destId="{5829D355-4F9B-754E-8384-23AF734D3DC1}" srcOrd="3" destOrd="0" presId="urn:microsoft.com/office/officeart/2005/8/layout/hierarchy3"/>
    <dgm:cxn modelId="{87FE63FD-17F9-9249-9467-482338F05307}" type="presParOf" srcId="{12C4B6BF-E8D8-AE43-A701-F7E2A777D60C}" destId="{0D5AF32C-FEAC-B940-AEF9-113FD4C540C5}" srcOrd="4" destOrd="0" presId="urn:microsoft.com/office/officeart/2005/8/layout/hierarchy3"/>
    <dgm:cxn modelId="{4DC7672A-EFC1-7848-B22D-BE4E1094284C}" type="presParOf" srcId="{12C4B6BF-E8D8-AE43-A701-F7E2A777D60C}" destId="{710A9C0B-B81D-0947-8B02-F4620CE15477}" srcOrd="5" destOrd="0" presId="urn:microsoft.com/office/officeart/2005/8/layout/hierarchy3"/>
    <dgm:cxn modelId="{9A066AA3-89D8-8748-A2B4-5946422EDA0C}" type="presParOf" srcId="{12C4B6BF-E8D8-AE43-A701-F7E2A777D60C}" destId="{59399A21-1752-9641-909F-1DF60D99EC93}" srcOrd="6" destOrd="0" presId="urn:microsoft.com/office/officeart/2005/8/layout/hierarchy3"/>
    <dgm:cxn modelId="{2738DD42-F194-5A4F-936B-533CAFAF83BC}" type="presParOf" srcId="{12C4B6BF-E8D8-AE43-A701-F7E2A777D60C}" destId="{169F2B92-7101-9A4A-83D1-C2CF5AF28505}" srcOrd="7" destOrd="0" presId="urn:microsoft.com/office/officeart/2005/8/layout/hierarchy3"/>
    <dgm:cxn modelId="{C69B2272-8F9D-7948-A507-20A4E66FF41A}" type="presParOf" srcId="{12C4B6BF-E8D8-AE43-A701-F7E2A777D60C}" destId="{C1B131E3-501B-D54B-87C3-86BF06BB35E8}" srcOrd="8" destOrd="0" presId="urn:microsoft.com/office/officeart/2005/8/layout/hierarchy3"/>
    <dgm:cxn modelId="{80F70ADF-9E58-C745-869A-3896F51287F4}" type="presParOf" srcId="{12C4B6BF-E8D8-AE43-A701-F7E2A777D60C}" destId="{4A6CB5A3-1BA1-7E4B-8C56-627C34B6ECD3}" srcOrd="9" destOrd="0" presId="urn:microsoft.com/office/officeart/2005/8/layout/hierarchy3"/>
    <dgm:cxn modelId="{0438BD61-4B84-934A-9DB0-642DF4911DA6}" type="presParOf" srcId="{16F309D4-BE1B-8D44-A2FF-C8BCEAD0DD2A}" destId="{A96934A9-523B-374E-8C2C-7909AAC40CA6}" srcOrd="1" destOrd="0" presId="urn:microsoft.com/office/officeart/2005/8/layout/hierarchy3"/>
    <dgm:cxn modelId="{318A45CF-77A6-8A44-9848-C3FE6924E68F}" type="presParOf" srcId="{A96934A9-523B-374E-8C2C-7909AAC40CA6}" destId="{F25E26AF-11C2-7749-8719-C27F23C8B04A}" srcOrd="0" destOrd="0" presId="urn:microsoft.com/office/officeart/2005/8/layout/hierarchy3"/>
    <dgm:cxn modelId="{BE96309C-0058-5149-8666-9986EF87B7F5}" type="presParOf" srcId="{F25E26AF-11C2-7749-8719-C27F23C8B04A}" destId="{587C74AE-3394-DC49-8CB1-76A0BCD058A4}" srcOrd="0" destOrd="0" presId="urn:microsoft.com/office/officeart/2005/8/layout/hierarchy3"/>
    <dgm:cxn modelId="{B663E2B9-AA74-E444-8871-CCAEE1D89271}" type="presParOf" srcId="{F25E26AF-11C2-7749-8719-C27F23C8B04A}" destId="{242389FB-B41A-B840-98D8-A9B4FB6A89AF}" srcOrd="1" destOrd="0" presId="urn:microsoft.com/office/officeart/2005/8/layout/hierarchy3"/>
    <dgm:cxn modelId="{8357E6FC-D3AF-9143-9E73-A49AEEF813A5}" type="presParOf" srcId="{A96934A9-523B-374E-8C2C-7909AAC40CA6}" destId="{DEA32703-74CA-6747-A77B-3BB9BDFE1AED}" srcOrd="1" destOrd="0" presId="urn:microsoft.com/office/officeart/2005/8/layout/hierarchy3"/>
    <dgm:cxn modelId="{5B163C4B-E44A-A744-838C-7F6F7C316DFB}" type="presParOf" srcId="{DEA32703-74CA-6747-A77B-3BB9BDFE1AED}" destId="{BA439008-8DC7-6F4F-BB51-CC1D048D6E8D}" srcOrd="0" destOrd="0" presId="urn:microsoft.com/office/officeart/2005/8/layout/hierarchy3"/>
    <dgm:cxn modelId="{7FAFD592-1B29-044E-871E-060CCA026EA0}" type="presParOf" srcId="{DEA32703-74CA-6747-A77B-3BB9BDFE1AED}" destId="{EC7CC600-EAD4-7449-B71C-71141DC3A933}" srcOrd="1" destOrd="0" presId="urn:microsoft.com/office/officeart/2005/8/layout/hierarchy3"/>
    <dgm:cxn modelId="{09680181-7C96-E44A-BB47-4663E6995F7F}" type="presParOf" srcId="{DEA32703-74CA-6747-A77B-3BB9BDFE1AED}" destId="{E10A6EA2-0E21-A04F-8004-BFC9A0538066}" srcOrd="2" destOrd="0" presId="urn:microsoft.com/office/officeart/2005/8/layout/hierarchy3"/>
    <dgm:cxn modelId="{360652E0-1D7D-5649-BA7B-0C94F98EB2ED}" type="presParOf" srcId="{DEA32703-74CA-6747-A77B-3BB9BDFE1AED}" destId="{0802B708-C3AC-C64A-B8CF-25D102BF4DB4}" srcOrd="3" destOrd="0" presId="urn:microsoft.com/office/officeart/2005/8/layout/hierarchy3"/>
    <dgm:cxn modelId="{BC8D17F1-F671-A544-BEE1-D30E350C256D}" type="presParOf" srcId="{DEA32703-74CA-6747-A77B-3BB9BDFE1AED}" destId="{BF408421-FF0A-F54E-B93E-57AA7AC549C4}" srcOrd="4" destOrd="0" presId="urn:microsoft.com/office/officeart/2005/8/layout/hierarchy3"/>
    <dgm:cxn modelId="{FAAD1787-2772-9D4D-91FA-35E8EFFD8BA0}" type="presParOf" srcId="{DEA32703-74CA-6747-A77B-3BB9BDFE1AED}" destId="{0F6014B9-FF15-0546-AA04-F591028B596A}" srcOrd="5" destOrd="0" presId="urn:microsoft.com/office/officeart/2005/8/layout/hierarchy3"/>
    <dgm:cxn modelId="{C9895782-1FC1-0841-8433-B96E103DDBE8}" type="presParOf" srcId="{DEA32703-74CA-6747-A77B-3BB9BDFE1AED}" destId="{BEB443A0-BDD9-EC4C-9347-4016B3AFF79C}" srcOrd="6" destOrd="0" presId="urn:microsoft.com/office/officeart/2005/8/layout/hierarchy3"/>
    <dgm:cxn modelId="{417C434E-8019-D141-A78D-6D2DCDAEAC1E}" type="presParOf" srcId="{DEA32703-74CA-6747-A77B-3BB9BDFE1AED}" destId="{BEF1671F-3DF5-494B-AE25-2434EBDA1A68}" srcOrd="7" destOrd="0" presId="urn:microsoft.com/office/officeart/2005/8/layout/hierarchy3"/>
    <dgm:cxn modelId="{64E4B8BB-22DF-0844-8857-39E7BA0A64E1}" type="presParOf" srcId="{16F309D4-BE1B-8D44-A2FF-C8BCEAD0DD2A}" destId="{CB370BBE-A024-9A49-910B-F9983E11F7A8}" srcOrd="2" destOrd="0" presId="urn:microsoft.com/office/officeart/2005/8/layout/hierarchy3"/>
    <dgm:cxn modelId="{9713776A-0EBC-B44A-9B36-D33034AE5165}" type="presParOf" srcId="{CB370BBE-A024-9A49-910B-F9983E11F7A8}" destId="{7B728FFD-E6EB-4248-AF75-26D3B09973CC}" srcOrd="0" destOrd="0" presId="urn:microsoft.com/office/officeart/2005/8/layout/hierarchy3"/>
    <dgm:cxn modelId="{102D2ABC-C2F4-C241-BC89-8A534C24BC98}" type="presParOf" srcId="{7B728FFD-E6EB-4248-AF75-26D3B09973CC}" destId="{7634BA55-D044-B248-8F77-5614E76D7120}" srcOrd="0" destOrd="0" presId="urn:microsoft.com/office/officeart/2005/8/layout/hierarchy3"/>
    <dgm:cxn modelId="{443F467F-8172-FE42-AC90-A620E285F998}" type="presParOf" srcId="{7B728FFD-E6EB-4248-AF75-26D3B09973CC}" destId="{2D2AA0B9-FFE1-3F4D-A350-15F910F3BD22}" srcOrd="1" destOrd="0" presId="urn:microsoft.com/office/officeart/2005/8/layout/hierarchy3"/>
    <dgm:cxn modelId="{DBAADA5B-2766-4940-8C5B-424959A0FBDF}" type="presParOf" srcId="{CB370BBE-A024-9A49-910B-F9983E11F7A8}" destId="{41D64697-6E39-5C4A-A402-EFBD9B357B22}" srcOrd="1" destOrd="0" presId="urn:microsoft.com/office/officeart/2005/8/layout/hierarchy3"/>
    <dgm:cxn modelId="{38E7E4E4-41C7-7E48-BDC6-CD7E89E2A976}" type="presParOf" srcId="{41D64697-6E39-5C4A-A402-EFBD9B357B22}" destId="{1AE04E00-72C6-3B42-81CF-52ED553CDC38}" srcOrd="0" destOrd="0" presId="urn:microsoft.com/office/officeart/2005/8/layout/hierarchy3"/>
    <dgm:cxn modelId="{0E544AA2-C03B-5240-BAA1-A6FB1F384CB2}" type="presParOf" srcId="{41D64697-6E39-5C4A-A402-EFBD9B357B22}" destId="{357FEADB-5D8F-E343-88F9-3F0C634B3357}" srcOrd="1" destOrd="0" presId="urn:microsoft.com/office/officeart/2005/8/layout/hierarchy3"/>
    <dgm:cxn modelId="{3A42D800-4FF6-F048-827F-BE5172577A64}" type="presParOf" srcId="{41D64697-6E39-5C4A-A402-EFBD9B357B22}" destId="{616DEDF7-72CD-4B41-826B-4210486F480B}" srcOrd="2" destOrd="0" presId="urn:microsoft.com/office/officeart/2005/8/layout/hierarchy3"/>
    <dgm:cxn modelId="{1B45B520-9144-A644-819A-C40EFFBB7C88}" type="presParOf" srcId="{41D64697-6E39-5C4A-A402-EFBD9B357B22}" destId="{CE2BE487-796D-8A42-81EB-73B1FF7FA130}" srcOrd="3" destOrd="0" presId="urn:microsoft.com/office/officeart/2005/8/layout/hierarchy3"/>
    <dgm:cxn modelId="{385BC9E9-33F1-8144-9664-B68E0F4C2C0F}" type="presParOf" srcId="{41D64697-6E39-5C4A-A402-EFBD9B357B22}" destId="{161E2220-9CCC-FC4A-8FB2-63C6E682F6DF}" srcOrd="4" destOrd="0" presId="urn:microsoft.com/office/officeart/2005/8/layout/hierarchy3"/>
    <dgm:cxn modelId="{7B61AB3F-972F-464E-830F-B6BD965822B3}" type="presParOf" srcId="{41D64697-6E39-5C4A-A402-EFBD9B357B22}" destId="{4E24FB6B-4ED1-9B47-AF93-F82344D22B18}" srcOrd="5" destOrd="0" presId="urn:microsoft.com/office/officeart/2005/8/layout/hierarchy3"/>
    <dgm:cxn modelId="{DC4E12F3-DE28-D544-8478-9F569D5D57F8}" type="presParOf" srcId="{41D64697-6E39-5C4A-A402-EFBD9B357B22}" destId="{62372CAD-8CEA-5249-B725-06E12ECDABED}" srcOrd="6" destOrd="0" presId="urn:microsoft.com/office/officeart/2005/8/layout/hierarchy3"/>
    <dgm:cxn modelId="{A26F7423-663D-294A-A0AA-3E0F4157C137}" type="presParOf" srcId="{41D64697-6E39-5C4A-A402-EFBD9B357B22}" destId="{B14971FA-8479-2647-910A-061B76333F31}" srcOrd="7" destOrd="0" presId="urn:microsoft.com/office/officeart/2005/8/layout/hierarchy3"/>
    <dgm:cxn modelId="{B9482AA6-B713-E045-9BD5-19EB68786CE9}" type="presParOf" srcId="{16F309D4-BE1B-8D44-A2FF-C8BCEAD0DD2A}" destId="{0B92FC74-4071-764A-A2F7-8B7BC1055406}" srcOrd="3" destOrd="0" presId="urn:microsoft.com/office/officeart/2005/8/layout/hierarchy3"/>
    <dgm:cxn modelId="{6E93C54D-ED28-B442-9E99-F359F0E1A1EC}" type="presParOf" srcId="{0B92FC74-4071-764A-A2F7-8B7BC1055406}" destId="{7BE5EE51-5566-A34B-BEC5-6D9956914C98}" srcOrd="0" destOrd="0" presId="urn:microsoft.com/office/officeart/2005/8/layout/hierarchy3"/>
    <dgm:cxn modelId="{F1B67D76-3618-B64E-96C8-6152E4D3B7AE}" type="presParOf" srcId="{7BE5EE51-5566-A34B-BEC5-6D9956914C98}" destId="{2FA8F23F-35CD-C54A-8783-629A03772AEC}" srcOrd="0" destOrd="0" presId="urn:microsoft.com/office/officeart/2005/8/layout/hierarchy3"/>
    <dgm:cxn modelId="{55E52025-4F46-6944-9B91-FCDC34825020}" type="presParOf" srcId="{7BE5EE51-5566-A34B-BEC5-6D9956914C98}" destId="{40C13E8D-350F-9F47-8B40-A10BE8257C70}" srcOrd="1" destOrd="0" presId="urn:microsoft.com/office/officeart/2005/8/layout/hierarchy3"/>
    <dgm:cxn modelId="{4DAE18CF-9625-6740-921F-74E6C3F4421C}" type="presParOf" srcId="{0B92FC74-4071-764A-A2F7-8B7BC1055406}" destId="{4DCBCE0A-FB7A-D648-968B-63FF67ACDB8C}" srcOrd="1" destOrd="0" presId="urn:microsoft.com/office/officeart/2005/8/layout/hierarchy3"/>
    <dgm:cxn modelId="{F622727C-86F5-E147-B084-CB9F4C5AE304}" type="presParOf" srcId="{4DCBCE0A-FB7A-D648-968B-63FF67ACDB8C}" destId="{9E84B493-25F5-DF4D-8ECA-FEBA7BDB38A6}" srcOrd="0" destOrd="0" presId="urn:microsoft.com/office/officeart/2005/8/layout/hierarchy3"/>
    <dgm:cxn modelId="{A9B6235D-AF78-6F4A-9B1E-71C466AD4C8E}" type="presParOf" srcId="{4DCBCE0A-FB7A-D648-968B-63FF67ACDB8C}" destId="{6383FD56-CDCD-2945-B041-9B16034E0889}" srcOrd="1" destOrd="0" presId="urn:microsoft.com/office/officeart/2005/8/layout/hierarchy3"/>
    <dgm:cxn modelId="{ACEC133D-4FE6-6D4D-A81F-ED842D844F76}" type="presParOf" srcId="{4DCBCE0A-FB7A-D648-968B-63FF67ACDB8C}" destId="{3FB2E1DB-7F77-A940-A44D-A2EBF02F6AA8}" srcOrd="2" destOrd="0" presId="urn:microsoft.com/office/officeart/2005/8/layout/hierarchy3"/>
    <dgm:cxn modelId="{62EE8760-7F1D-0344-9332-24BBBA310E0F}" type="presParOf" srcId="{4DCBCE0A-FB7A-D648-968B-63FF67ACDB8C}" destId="{84AF0035-BFE5-2044-A7EB-39D21B6B4C23}" srcOrd="3" destOrd="0" presId="urn:microsoft.com/office/officeart/2005/8/layout/hierarchy3"/>
    <dgm:cxn modelId="{B6576FE2-194D-8A4B-81B1-7E4AF3CF27C6}" type="presParOf" srcId="{4DCBCE0A-FB7A-D648-968B-63FF67ACDB8C}" destId="{6544270F-F7B6-E049-B33D-1DD08D2C8DA4}" srcOrd="4" destOrd="0" presId="urn:microsoft.com/office/officeart/2005/8/layout/hierarchy3"/>
    <dgm:cxn modelId="{299C1CDC-BA7F-584D-96D6-A98B64FE05E0}" type="presParOf" srcId="{4DCBCE0A-FB7A-D648-968B-63FF67ACDB8C}" destId="{CD3B654E-F569-E741-95FD-BAEB3D862512}" srcOrd="5" destOrd="0" presId="urn:microsoft.com/office/officeart/2005/8/layout/hierarchy3"/>
    <dgm:cxn modelId="{C5DA51D8-E209-E342-9D81-B3565E15C3B7}" type="presParOf" srcId="{4DCBCE0A-FB7A-D648-968B-63FF67ACDB8C}" destId="{A766C9EF-D2E9-D042-A8CB-171425FDB28D}" srcOrd="6" destOrd="0" presId="urn:microsoft.com/office/officeart/2005/8/layout/hierarchy3"/>
    <dgm:cxn modelId="{A23B769E-9A68-7C4F-A68E-2BC5A25FA573}" type="presParOf" srcId="{4DCBCE0A-FB7A-D648-968B-63FF67ACDB8C}" destId="{E6601567-ED76-D74F-A58C-75189A8C23BF}" srcOrd="7" destOrd="0" presId="urn:microsoft.com/office/officeart/2005/8/layout/hierarchy3"/>
    <dgm:cxn modelId="{D6871E1B-D1BE-914A-B914-FC59833C25D3}" type="presParOf" srcId="{4DCBCE0A-FB7A-D648-968B-63FF67ACDB8C}" destId="{4775D44D-645E-E249-ADDE-D82E8C608398}" srcOrd="8" destOrd="0" presId="urn:microsoft.com/office/officeart/2005/8/layout/hierarchy3"/>
    <dgm:cxn modelId="{C55FBE72-A528-A840-94DC-A223B2402114}" type="presParOf" srcId="{4DCBCE0A-FB7A-D648-968B-63FF67ACDB8C}" destId="{051EB7AD-8953-834A-8746-11F852A289E6}" srcOrd="9" destOrd="0" presId="urn:microsoft.com/office/officeart/2005/8/layout/hierarchy3"/>
    <dgm:cxn modelId="{087D0AC2-E08F-9C4A-AB91-E1F233629FA1}" type="presParOf" srcId="{16F309D4-BE1B-8D44-A2FF-C8BCEAD0DD2A}" destId="{719EB4DA-DF2C-5D44-A48A-750440292576}" srcOrd="4" destOrd="0" presId="urn:microsoft.com/office/officeart/2005/8/layout/hierarchy3"/>
    <dgm:cxn modelId="{D55CB2F1-1F5A-EE4A-B3EB-2C4E883D8361}" type="presParOf" srcId="{719EB4DA-DF2C-5D44-A48A-750440292576}" destId="{39FC2340-0F74-CF48-9C7B-51D8F6F2215E}" srcOrd="0" destOrd="0" presId="urn:microsoft.com/office/officeart/2005/8/layout/hierarchy3"/>
    <dgm:cxn modelId="{05C213A0-3048-FA4D-9AFD-A3FE417AB1BE}" type="presParOf" srcId="{39FC2340-0F74-CF48-9C7B-51D8F6F2215E}" destId="{F22BDB45-6DFC-C945-B9D7-19948CF5FF0A}" srcOrd="0" destOrd="0" presId="urn:microsoft.com/office/officeart/2005/8/layout/hierarchy3"/>
    <dgm:cxn modelId="{6D0E0467-50F3-2D4C-A7BF-1243C38E9D36}" type="presParOf" srcId="{39FC2340-0F74-CF48-9C7B-51D8F6F2215E}" destId="{31ED4CE2-5851-2844-95C2-49FB992474CB}" srcOrd="1" destOrd="0" presId="urn:microsoft.com/office/officeart/2005/8/layout/hierarchy3"/>
    <dgm:cxn modelId="{7BCCB707-21E6-D74E-9442-87FA1B2028AA}" type="presParOf" srcId="{719EB4DA-DF2C-5D44-A48A-750440292576}" destId="{43DD40E6-F2F7-A242-93A4-9837A08DBC2B}" srcOrd="1" destOrd="0" presId="urn:microsoft.com/office/officeart/2005/8/layout/hierarchy3"/>
    <dgm:cxn modelId="{6D7184D0-42A8-3443-8BA9-AAF303AA4FBD}" type="presParOf" srcId="{43DD40E6-F2F7-A242-93A4-9837A08DBC2B}" destId="{9BB28569-8A99-3547-82B9-E7AE7B791E8E}" srcOrd="0" destOrd="0" presId="urn:microsoft.com/office/officeart/2005/8/layout/hierarchy3"/>
    <dgm:cxn modelId="{77692873-DF51-B144-B425-A020C4F8CF36}" type="presParOf" srcId="{43DD40E6-F2F7-A242-93A4-9837A08DBC2B}" destId="{D6C47007-297A-9149-B858-94EACBFC3B98}" srcOrd="1" destOrd="0" presId="urn:microsoft.com/office/officeart/2005/8/layout/hierarchy3"/>
    <dgm:cxn modelId="{7D6F0C63-B372-A341-8B83-B7D3B3B84B63}" type="presParOf" srcId="{43DD40E6-F2F7-A242-93A4-9837A08DBC2B}" destId="{57251F56-0827-F642-9213-6BAF8C24320C}" srcOrd="2" destOrd="0" presId="urn:microsoft.com/office/officeart/2005/8/layout/hierarchy3"/>
    <dgm:cxn modelId="{6B5D9737-AFD5-1149-AFC2-8B3DD5365654}" type="presParOf" srcId="{43DD40E6-F2F7-A242-93A4-9837A08DBC2B}" destId="{18EDD8C2-B42A-184F-9F26-A856FFE0B12C}" srcOrd="3" destOrd="0" presId="urn:microsoft.com/office/officeart/2005/8/layout/hierarchy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AE76784-5D59-A743-AA47-5BB59FA4DAB7}">
      <dsp:nvSpPr>
        <dsp:cNvPr id="0" name=""/>
        <dsp:cNvSpPr/>
      </dsp:nvSpPr>
      <dsp:spPr>
        <a:xfrm rot="5400000">
          <a:off x="5015248" y="-2069515"/>
          <a:ext cx="740754" cy="5068824"/>
        </a:xfrm>
        <a:prstGeom prst="round2SameRect">
          <a:avLst/>
        </a:prstGeom>
        <a:solidFill>
          <a:schemeClr val="dk2">
            <a:alpha val="90000"/>
            <a:tint val="40000"/>
            <a:hueOff val="0"/>
            <a:satOff val="0"/>
            <a:lumOff val="0"/>
            <a:alphaOff val="0"/>
          </a:schemeClr>
        </a:solidFill>
        <a:ln w="6350" cap="flat" cmpd="sng" algn="ctr">
          <a:solidFill>
            <a:schemeClr val="dk2">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t>Describe a design problems, its solutions and consequences in a word or two</a:t>
          </a:r>
        </a:p>
      </dsp:txBody>
      <dsp:txXfrm rot="-5400000">
        <a:off x="2851214" y="130680"/>
        <a:ext cx="5032663" cy="668432"/>
      </dsp:txXfrm>
    </dsp:sp>
    <dsp:sp modelId="{52061A9D-7382-2E4F-836A-E3E9AFEFA3C3}">
      <dsp:nvSpPr>
        <dsp:cNvPr id="0" name=""/>
        <dsp:cNvSpPr/>
      </dsp:nvSpPr>
      <dsp:spPr>
        <a:xfrm>
          <a:off x="0" y="1925"/>
          <a:ext cx="2851213" cy="925942"/>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t>Pattern Name</a:t>
          </a:r>
        </a:p>
      </dsp:txBody>
      <dsp:txXfrm>
        <a:off x="45201" y="47126"/>
        <a:ext cx="2760811" cy="835540"/>
      </dsp:txXfrm>
    </dsp:sp>
    <dsp:sp modelId="{60BE5020-082D-AF49-8633-E123F720801E}">
      <dsp:nvSpPr>
        <dsp:cNvPr id="0" name=""/>
        <dsp:cNvSpPr/>
      </dsp:nvSpPr>
      <dsp:spPr>
        <a:xfrm rot="5400000">
          <a:off x="5015248" y="-1097275"/>
          <a:ext cx="740754" cy="5068824"/>
        </a:xfrm>
        <a:prstGeom prst="round2SameRect">
          <a:avLst/>
        </a:prstGeom>
        <a:solidFill>
          <a:schemeClr val="dk2">
            <a:alpha val="90000"/>
            <a:tint val="40000"/>
            <a:hueOff val="0"/>
            <a:satOff val="0"/>
            <a:lumOff val="0"/>
            <a:alphaOff val="0"/>
          </a:schemeClr>
        </a:solidFill>
        <a:ln w="6350" cap="flat" cmpd="sng" algn="ctr">
          <a:solidFill>
            <a:schemeClr val="dk2">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t>Explain the problem and its context</a:t>
          </a:r>
        </a:p>
        <a:p>
          <a:pPr marL="171450" lvl="1" indent="-171450" algn="l" defTabSz="711200">
            <a:lnSpc>
              <a:spcPct val="90000"/>
            </a:lnSpc>
            <a:spcBef>
              <a:spcPct val="0"/>
            </a:spcBef>
            <a:spcAft>
              <a:spcPct val="15000"/>
            </a:spcAft>
            <a:buChar char="•"/>
          </a:pPr>
          <a:r>
            <a:rPr lang="en-US" sz="1600" kern="1200" dirty="0"/>
            <a:t>Conditions must be met </a:t>
          </a:r>
        </a:p>
      </dsp:txBody>
      <dsp:txXfrm rot="-5400000">
        <a:off x="2851214" y="1102920"/>
        <a:ext cx="5032663" cy="668432"/>
      </dsp:txXfrm>
    </dsp:sp>
    <dsp:sp modelId="{629DAA03-DA31-0C4A-B441-2E198200C4D0}">
      <dsp:nvSpPr>
        <dsp:cNvPr id="0" name=""/>
        <dsp:cNvSpPr/>
      </dsp:nvSpPr>
      <dsp:spPr>
        <a:xfrm>
          <a:off x="0" y="974165"/>
          <a:ext cx="2851213" cy="925942"/>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altLang="zh-CN" sz="2800" kern="1200" dirty="0"/>
            <a:t>Problem</a:t>
          </a:r>
          <a:endParaRPr lang="en-US" sz="2800" kern="1200" dirty="0"/>
        </a:p>
      </dsp:txBody>
      <dsp:txXfrm>
        <a:off x="45201" y="1019366"/>
        <a:ext cx="2760811" cy="835540"/>
      </dsp:txXfrm>
    </dsp:sp>
    <dsp:sp modelId="{358B8DCD-C6CF-A249-B257-B9B0C3C2D81B}">
      <dsp:nvSpPr>
        <dsp:cNvPr id="0" name=""/>
        <dsp:cNvSpPr/>
      </dsp:nvSpPr>
      <dsp:spPr>
        <a:xfrm rot="5400000">
          <a:off x="5015248" y="-125035"/>
          <a:ext cx="740754" cy="5068824"/>
        </a:xfrm>
        <a:prstGeom prst="round2SameRect">
          <a:avLst/>
        </a:prstGeom>
        <a:solidFill>
          <a:schemeClr val="dk2">
            <a:alpha val="90000"/>
            <a:tint val="40000"/>
            <a:hueOff val="0"/>
            <a:satOff val="0"/>
            <a:lumOff val="0"/>
            <a:alphaOff val="0"/>
          </a:schemeClr>
        </a:solidFill>
        <a:ln w="6350" cap="flat" cmpd="sng" algn="ctr">
          <a:solidFill>
            <a:schemeClr val="dk2">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t>Describe the elements that make up the design</a:t>
          </a:r>
        </a:p>
        <a:p>
          <a:pPr marL="171450" lvl="1" indent="-171450" algn="l" defTabSz="711200">
            <a:lnSpc>
              <a:spcPct val="90000"/>
            </a:lnSpc>
            <a:spcBef>
              <a:spcPct val="0"/>
            </a:spcBef>
            <a:spcAft>
              <a:spcPct val="15000"/>
            </a:spcAft>
            <a:buChar char="•"/>
          </a:pPr>
          <a:r>
            <a:rPr lang="en-US" sz="1600" kern="1200" dirty="0"/>
            <a:t>Relationship, responsibilities, and collaborations</a:t>
          </a:r>
        </a:p>
      </dsp:txBody>
      <dsp:txXfrm rot="-5400000">
        <a:off x="2851214" y="2075160"/>
        <a:ext cx="5032663" cy="668432"/>
      </dsp:txXfrm>
    </dsp:sp>
    <dsp:sp modelId="{F6C3F537-6E74-4E4D-83EE-39724C655B87}">
      <dsp:nvSpPr>
        <dsp:cNvPr id="0" name=""/>
        <dsp:cNvSpPr/>
      </dsp:nvSpPr>
      <dsp:spPr>
        <a:xfrm>
          <a:off x="0" y="1946405"/>
          <a:ext cx="2851213" cy="925942"/>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t>Solution</a:t>
          </a:r>
        </a:p>
      </dsp:txBody>
      <dsp:txXfrm>
        <a:off x="45201" y="1991606"/>
        <a:ext cx="2760811" cy="835540"/>
      </dsp:txXfrm>
    </dsp:sp>
    <dsp:sp modelId="{1A08C2F4-B0D0-C944-A3D8-10732B5505B0}">
      <dsp:nvSpPr>
        <dsp:cNvPr id="0" name=""/>
        <dsp:cNvSpPr/>
      </dsp:nvSpPr>
      <dsp:spPr>
        <a:xfrm rot="5400000">
          <a:off x="5015248" y="847204"/>
          <a:ext cx="740754" cy="5068824"/>
        </a:xfrm>
        <a:prstGeom prst="round2SameRect">
          <a:avLst/>
        </a:prstGeom>
        <a:solidFill>
          <a:schemeClr val="dk2">
            <a:alpha val="90000"/>
            <a:tint val="40000"/>
            <a:hueOff val="0"/>
            <a:satOff val="0"/>
            <a:lumOff val="0"/>
            <a:alphaOff val="0"/>
          </a:schemeClr>
        </a:solidFill>
        <a:ln w="6350" cap="flat" cmpd="sng" algn="ctr">
          <a:solidFill>
            <a:schemeClr val="dk2">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t>Results and trade-offs of applying the pattern</a:t>
          </a:r>
        </a:p>
        <a:p>
          <a:pPr marL="171450" lvl="1" indent="-171450" algn="l" defTabSz="711200">
            <a:lnSpc>
              <a:spcPct val="90000"/>
            </a:lnSpc>
            <a:spcBef>
              <a:spcPct val="0"/>
            </a:spcBef>
            <a:spcAft>
              <a:spcPct val="15000"/>
            </a:spcAft>
            <a:buChar char="•"/>
          </a:pPr>
          <a:r>
            <a:rPr lang="en-US" sz="1600" kern="1200" dirty="0"/>
            <a:t>Critical for understanding the costs/benefits</a:t>
          </a:r>
        </a:p>
      </dsp:txBody>
      <dsp:txXfrm rot="-5400000">
        <a:off x="2851214" y="3047400"/>
        <a:ext cx="5032663" cy="668432"/>
      </dsp:txXfrm>
    </dsp:sp>
    <dsp:sp modelId="{B1C09CFA-5BB7-EB4C-A384-D126A17254D2}">
      <dsp:nvSpPr>
        <dsp:cNvPr id="0" name=""/>
        <dsp:cNvSpPr/>
      </dsp:nvSpPr>
      <dsp:spPr>
        <a:xfrm>
          <a:off x="0" y="2918645"/>
          <a:ext cx="2851213" cy="925942"/>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t>Consequence</a:t>
          </a:r>
        </a:p>
      </dsp:txBody>
      <dsp:txXfrm>
        <a:off x="45201" y="2963846"/>
        <a:ext cx="2760811" cy="83554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5ED3E6-51AD-1641-949A-0F65BC3E9D79}">
      <dsp:nvSpPr>
        <dsp:cNvPr id="0" name=""/>
        <dsp:cNvSpPr/>
      </dsp:nvSpPr>
      <dsp:spPr>
        <a:xfrm>
          <a:off x="1063" y="260886"/>
          <a:ext cx="893419" cy="446709"/>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Functional suitability</a:t>
          </a:r>
        </a:p>
      </dsp:txBody>
      <dsp:txXfrm>
        <a:off x="14147" y="273970"/>
        <a:ext cx="867251" cy="420541"/>
      </dsp:txXfrm>
    </dsp:sp>
    <dsp:sp modelId="{CEEA02DB-4226-0A4E-9CEE-E4DF1468D4FA}">
      <dsp:nvSpPr>
        <dsp:cNvPr id="0" name=""/>
        <dsp:cNvSpPr/>
      </dsp:nvSpPr>
      <dsp:spPr>
        <a:xfrm>
          <a:off x="44685" y="707595"/>
          <a:ext cx="91440" cy="335032"/>
        </a:xfrm>
        <a:custGeom>
          <a:avLst/>
          <a:gdLst/>
          <a:ahLst/>
          <a:cxnLst/>
          <a:rect l="0" t="0" r="0" b="0"/>
          <a:pathLst>
            <a:path>
              <a:moveTo>
                <a:pt x="45720" y="0"/>
              </a:moveTo>
              <a:lnTo>
                <a:pt x="45720" y="335032"/>
              </a:lnTo>
              <a:lnTo>
                <a:pt x="135061" y="335032"/>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E0B66B4-D0F6-534A-9FA4-5FFE3999714B}">
      <dsp:nvSpPr>
        <dsp:cNvPr id="0" name=""/>
        <dsp:cNvSpPr/>
      </dsp:nvSpPr>
      <dsp:spPr>
        <a:xfrm>
          <a:off x="179747" y="819273"/>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Functional correctness</a:t>
          </a:r>
        </a:p>
      </dsp:txBody>
      <dsp:txXfrm>
        <a:off x="192831" y="832357"/>
        <a:ext cx="688567" cy="420541"/>
      </dsp:txXfrm>
    </dsp:sp>
    <dsp:sp modelId="{0D1F2A58-F3A6-2749-A21E-35A839943671}">
      <dsp:nvSpPr>
        <dsp:cNvPr id="0" name=""/>
        <dsp:cNvSpPr/>
      </dsp:nvSpPr>
      <dsp:spPr>
        <a:xfrm>
          <a:off x="44685" y="707595"/>
          <a:ext cx="91440" cy="893419"/>
        </a:xfrm>
        <a:custGeom>
          <a:avLst/>
          <a:gdLst/>
          <a:ahLst/>
          <a:cxnLst/>
          <a:rect l="0" t="0" r="0" b="0"/>
          <a:pathLst>
            <a:path>
              <a:moveTo>
                <a:pt x="45720" y="0"/>
              </a:moveTo>
              <a:lnTo>
                <a:pt x="45720" y="893419"/>
              </a:lnTo>
              <a:lnTo>
                <a:pt x="135061" y="893419"/>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3301F81-1F1D-3F46-B392-A59C2C4C807C}">
      <dsp:nvSpPr>
        <dsp:cNvPr id="0" name=""/>
        <dsp:cNvSpPr/>
      </dsp:nvSpPr>
      <dsp:spPr>
        <a:xfrm>
          <a:off x="179747" y="1377660"/>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282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Functional complete-ness</a:t>
          </a:r>
        </a:p>
      </dsp:txBody>
      <dsp:txXfrm>
        <a:off x="192831" y="1390744"/>
        <a:ext cx="688567" cy="420541"/>
      </dsp:txXfrm>
    </dsp:sp>
    <dsp:sp modelId="{F25706D1-68D7-8C43-A6D7-5B86169F3E21}">
      <dsp:nvSpPr>
        <dsp:cNvPr id="0" name=""/>
        <dsp:cNvSpPr/>
      </dsp:nvSpPr>
      <dsp:spPr>
        <a:xfrm>
          <a:off x="44685" y="707595"/>
          <a:ext cx="91440" cy="1451806"/>
        </a:xfrm>
        <a:custGeom>
          <a:avLst/>
          <a:gdLst/>
          <a:ahLst/>
          <a:cxnLst/>
          <a:rect l="0" t="0" r="0" b="0"/>
          <a:pathLst>
            <a:path>
              <a:moveTo>
                <a:pt x="45720" y="0"/>
              </a:moveTo>
              <a:lnTo>
                <a:pt x="45720" y="1451806"/>
              </a:lnTo>
              <a:lnTo>
                <a:pt x="135061" y="1451806"/>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DD7714F-70F6-4041-A377-C7AF7CC48C51}">
      <dsp:nvSpPr>
        <dsp:cNvPr id="0" name=""/>
        <dsp:cNvSpPr/>
      </dsp:nvSpPr>
      <dsp:spPr>
        <a:xfrm>
          <a:off x="179747" y="1936047"/>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564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Functional appropriate-ness</a:t>
          </a:r>
        </a:p>
      </dsp:txBody>
      <dsp:txXfrm>
        <a:off x="192831" y="1949131"/>
        <a:ext cx="688567" cy="420541"/>
      </dsp:txXfrm>
    </dsp:sp>
    <dsp:sp modelId="{BA133919-C9B4-1F46-8D96-28E5A05EB3DE}">
      <dsp:nvSpPr>
        <dsp:cNvPr id="0" name=""/>
        <dsp:cNvSpPr/>
      </dsp:nvSpPr>
      <dsp:spPr>
        <a:xfrm>
          <a:off x="1117838" y="260886"/>
          <a:ext cx="893419" cy="446709"/>
        </a:xfrm>
        <a:prstGeom prst="roundRect">
          <a:avLst>
            <a:gd name="adj" fmla="val 10000"/>
          </a:avLst>
        </a:prstGeom>
        <a:solidFill>
          <a:schemeClr val="accent4">
            <a:hueOff val="0"/>
            <a:satOff val="0"/>
            <a:lumOff val="1047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Performance efficiency</a:t>
          </a:r>
        </a:p>
      </dsp:txBody>
      <dsp:txXfrm>
        <a:off x="1130922" y="273970"/>
        <a:ext cx="867251" cy="420541"/>
      </dsp:txXfrm>
    </dsp:sp>
    <dsp:sp modelId="{A9557D1F-C5B3-4E4A-8CE5-F4F68D65AEEB}">
      <dsp:nvSpPr>
        <dsp:cNvPr id="0" name=""/>
        <dsp:cNvSpPr/>
      </dsp:nvSpPr>
      <dsp:spPr>
        <a:xfrm>
          <a:off x="1161460" y="707595"/>
          <a:ext cx="91440" cy="335032"/>
        </a:xfrm>
        <a:custGeom>
          <a:avLst/>
          <a:gdLst/>
          <a:ahLst/>
          <a:cxnLst/>
          <a:rect l="0" t="0" r="0" b="0"/>
          <a:pathLst>
            <a:path>
              <a:moveTo>
                <a:pt x="45720" y="0"/>
              </a:moveTo>
              <a:lnTo>
                <a:pt x="45720" y="335032"/>
              </a:lnTo>
              <a:lnTo>
                <a:pt x="135061" y="335032"/>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9124905-5F4B-C442-AA9D-A554D067E1CE}">
      <dsp:nvSpPr>
        <dsp:cNvPr id="0" name=""/>
        <dsp:cNvSpPr/>
      </dsp:nvSpPr>
      <dsp:spPr>
        <a:xfrm>
          <a:off x="1296521" y="819273"/>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846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Capacity</a:t>
          </a:r>
        </a:p>
      </dsp:txBody>
      <dsp:txXfrm>
        <a:off x="1309605" y="832357"/>
        <a:ext cx="688567" cy="420541"/>
      </dsp:txXfrm>
    </dsp:sp>
    <dsp:sp modelId="{8AECC5BC-2112-6C47-BA97-C703B279B190}">
      <dsp:nvSpPr>
        <dsp:cNvPr id="0" name=""/>
        <dsp:cNvSpPr/>
      </dsp:nvSpPr>
      <dsp:spPr>
        <a:xfrm>
          <a:off x="1161460" y="707595"/>
          <a:ext cx="91440" cy="893419"/>
        </a:xfrm>
        <a:custGeom>
          <a:avLst/>
          <a:gdLst/>
          <a:ahLst/>
          <a:cxnLst/>
          <a:rect l="0" t="0" r="0" b="0"/>
          <a:pathLst>
            <a:path>
              <a:moveTo>
                <a:pt x="45720" y="0"/>
              </a:moveTo>
              <a:lnTo>
                <a:pt x="45720" y="893419"/>
              </a:lnTo>
              <a:lnTo>
                <a:pt x="135061" y="893419"/>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023BBE9-C729-A74F-9B11-823A1A565C70}">
      <dsp:nvSpPr>
        <dsp:cNvPr id="0" name=""/>
        <dsp:cNvSpPr/>
      </dsp:nvSpPr>
      <dsp:spPr>
        <a:xfrm>
          <a:off x="1296521" y="1377660"/>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1128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Resource utilization</a:t>
          </a:r>
        </a:p>
      </dsp:txBody>
      <dsp:txXfrm>
        <a:off x="1309605" y="1390744"/>
        <a:ext cx="688567" cy="420541"/>
      </dsp:txXfrm>
    </dsp:sp>
    <dsp:sp modelId="{6A58B61E-B9B8-664C-AF64-AB9D200576BF}">
      <dsp:nvSpPr>
        <dsp:cNvPr id="0" name=""/>
        <dsp:cNvSpPr/>
      </dsp:nvSpPr>
      <dsp:spPr>
        <a:xfrm>
          <a:off x="1161460" y="707595"/>
          <a:ext cx="91440" cy="1451806"/>
        </a:xfrm>
        <a:custGeom>
          <a:avLst/>
          <a:gdLst/>
          <a:ahLst/>
          <a:cxnLst/>
          <a:rect l="0" t="0" r="0" b="0"/>
          <a:pathLst>
            <a:path>
              <a:moveTo>
                <a:pt x="45720" y="0"/>
              </a:moveTo>
              <a:lnTo>
                <a:pt x="45720" y="1451806"/>
              </a:lnTo>
              <a:lnTo>
                <a:pt x="135061" y="1451806"/>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8F89AFA-7427-B447-B5EA-897B3007A5D0}">
      <dsp:nvSpPr>
        <dsp:cNvPr id="0" name=""/>
        <dsp:cNvSpPr/>
      </dsp:nvSpPr>
      <dsp:spPr>
        <a:xfrm>
          <a:off x="1296521" y="1936047"/>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14103"/>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Time behavior</a:t>
          </a:r>
        </a:p>
      </dsp:txBody>
      <dsp:txXfrm>
        <a:off x="1309605" y="1949131"/>
        <a:ext cx="688567" cy="420541"/>
      </dsp:txXfrm>
    </dsp:sp>
    <dsp:sp modelId="{07B8B408-BBEA-5347-BC4A-13FA8D964551}">
      <dsp:nvSpPr>
        <dsp:cNvPr id="0" name=""/>
        <dsp:cNvSpPr/>
      </dsp:nvSpPr>
      <dsp:spPr>
        <a:xfrm>
          <a:off x="2234612" y="260886"/>
          <a:ext cx="893419" cy="446709"/>
        </a:xfrm>
        <a:prstGeom prst="roundRect">
          <a:avLst>
            <a:gd name="adj" fmla="val 10000"/>
          </a:avLst>
        </a:prstGeom>
        <a:solidFill>
          <a:schemeClr val="accent4">
            <a:hueOff val="0"/>
            <a:satOff val="0"/>
            <a:lumOff val="2095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err="1"/>
            <a:t>Compatib-ility</a:t>
          </a:r>
          <a:endParaRPr lang="en-US" sz="1200" b="1" kern="1200" dirty="0"/>
        </a:p>
      </dsp:txBody>
      <dsp:txXfrm>
        <a:off x="2247696" y="273970"/>
        <a:ext cx="867251" cy="420541"/>
      </dsp:txXfrm>
    </dsp:sp>
    <dsp:sp modelId="{9F877505-089D-AE47-A1F1-6C24D9394F4F}">
      <dsp:nvSpPr>
        <dsp:cNvPr id="0" name=""/>
        <dsp:cNvSpPr/>
      </dsp:nvSpPr>
      <dsp:spPr>
        <a:xfrm>
          <a:off x="2278234" y="707595"/>
          <a:ext cx="91440" cy="335032"/>
        </a:xfrm>
        <a:custGeom>
          <a:avLst/>
          <a:gdLst/>
          <a:ahLst/>
          <a:cxnLst/>
          <a:rect l="0" t="0" r="0" b="0"/>
          <a:pathLst>
            <a:path>
              <a:moveTo>
                <a:pt x="45720" y="0"/>
              </a:moveTo>
              <a:lnTo>
                <a:pt x="45720" y="335032"/>
              </a:lnTo>
              <a:lnTo>
                <a:pt x="135061" y="335032"/>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FE81644-B710-2848-8BE0-2E9C1E143939}">
      <dsp:nvSpPr>
        <dsp:cNvPr id="0" name=""/>
        <dsp:cNvSpPr/>
      </dsp:nvSpPr>
      <dsp:spPr>
        <a:xfrm>
          <a:off x="2413296" y="819273"/>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16923"/>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a:t>Interop-erability</a:t>
          </a:r>
          <a:endParaRPr lang="en-US" sz="1000" b="1" kern="1200" dirty="0"/>
        </a:p>
      </dsp:txBody>
      <dsp:txXfrm>
        <a:off x="2426380" y="832357"/>
        <a:ext cx="688567" cy="420541"/>
      </dsp:txXfrm>
    </dsp:sp>
    <dsp:sp modelId="{40E2CB40-9B00-E748-B505-5DD3E635E558}">
      <dsp:nvSpPr>
        <dsp:cNvPr id="0" name=""/>
        <dsp:cNvSpPr/>
      </dsp:nvSpPr>
      <dsp:spPr>
        <a:xfrm>
          <a:off x="2278234" y="707595"/>
          <a:ext cx="91440" cy="893419"/>
        </a:xfrm>
        <a:custGeom>
          <a:avLst/>
          <a:gdLst/>
          <a:ahLst/>
          <a:cxnLst/>
          <a:rect l="0" t="0" r="0" b="0"/>
          <a:pathLst>
            <a:path>
              <a:moveTo>
                <a:pt x="45720" y="0"/>
              </a:moveTo>
              <a:lnTo>
                <a:pt x="45720" y="893419"/>
              </a:lnTo>
              <a:lnTo>
                <a:pt x="135061" y="893419"/>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632657C-BFC7-224C-84FA-CA5FAF7AD56D}">
      <dsp:nvSpPr>
        <dsp:cNvPr id="0" name=""/>
        <dsp:cNvSpPr/>
      </dsp:nvSpPr>
      <dsp:spPr>
        <a:xfrm>
          <a:off x="2413296" y="1377660"/>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1974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Co-existence</a:t>
          </a:r>
        </a:p>
      </dsp:txBody>
      <dsp:txXfrm>
        <a:off x="2426380" y="1390744"/>
        <a:ext cx="688567" cy="420541"/>
      </dsp:txXfrm>
    </dsp:sp>
    <dsp:sp modelId="{20E4A332-023C-354A-A82F-E68BD57D1F45}">
      <dsp:nvSpPr>
        <dsp:cNvPr id="0" name=""/>
        <dsp:cNvSpPr/>
      </dsp:nvSpPr>
      <dsp:spPr>
        <a:xfrm>
          <a:off x="3351386" y="260886"/>
          <a:ext cx="893419" cy="446709"/>
        </a:xfrm>
        <a:prstGeom prst="roundRect">
          <a:avLst>
            <a:gd name="adj" fmla="val 10000"/>
          </a:avLst>
        </a:prstGeom>
        <a:solidFill>
          <a:schemeClr val="accent4">
            <a:hueOff val="0"/>
            <a:satOff val="0"/>
            <a:lumOff val="3142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Usability</a:t>
          </a:r>
        </a:p>
      </dsp:txBody>
      <dsp:txXfrm>
        <a:off x="3364470" y="273970"/>
        <a:ext cx="867251" cy="420541"/>
      </dsp:txXfrm>
    </dsp:sp>
    <dsp:sp modelId="{96C0B8AD-0DBD-D346-8EE3-09BFB11167B9}">
      <dsp:nvSpPr>
        <dsp:cNvPr id="0" name=""/>
        <dsp:cNvSpPr/>
      </dsp:nvSpPr>
      <dsp:spPr>
        <a:xfrm>
          <a:off x="3395008" y="707595"/>
          <a:ext cx="91440" cy="335032"/>
        </a:xfrm>
        <a:custGeom>
          <a:avLst/>
          <a:gdLst/>
          <a:ahLst/>
          <a:cxnLst/>
          <a:rect l="0" t="0" r="0" b="0"/>
          <a:pathLst>
            <a:path>
              <a:moveTo>
                <a:pt x="45720" y="0"/>
              </a:moveTo>
              <a:lnTo>
                <a:pt x="45720" y="335032"/>
              </a:lnTo>
              <a:lnTo>
                <a:pt x="135061" y="335032"/>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57115A-100A-0B4A-9BAC-ABEC59ABB382}">
      <dsp:nvSpPr>
        <dsp:cNvPr id="0" name=""/>
        <dsp:cNvSpPr/>
      </dsp:nvSpPr>
      <dsp:spPr>
        <a:xfrm>
          <a:off x="3530070" y="819273"/>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2256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Operability </a:t>
          </a:r>
        </a:p>
      </dsp:txBody>
      <dsp:txXfrm>
        <a:off x="3543154" y="832357"/>
        <a:ext cx="688567" cy="420541"/>
      </dsp:txXfrm>
    </dsp:sp>
    <dsp:sp modelId="{DD922611-B3FD-504D-B7FB-01A6B7FC4849}">
      <dsp:nvSpPr>
        <dsp:cNvPr id="0" name=""/>
        <dsp:cNvSpPr/>
      </dsp:nvSpPr>
      <dsp:spPr>
        <a:xfrm>
          <a:off x="3395008" y="707595"/>
          <a:ext cx="91440" cy="893419"/>
        </a:xfrm>
        <a:custGeom>
          <a:avLst/>
          <a:gdLst/>
          <a:ahLst/>
          <a:cxnLst/>
          <a:rect l="0" t="0" r="0" b="0"/>
          <a:pathLst>
            <a:path>
              <a:moveTo>
                <a:pt x="45720" y="0"/>
              </a:moveTo>
              <a:lnTo>
                <a:pt x="45720" y="893419"/>
              </a:lnTo>
              <a:lnTo>
                <a:pt x="135061" y="893419"/>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394CABE-AB99-1C4A-B9C0-729743D086F2}">
      <dsp:nvSpPr>
        <dsp:cNvPr id="0" name=""/>
        <dsp:cNvSpPr/>
      </dsp:nvSpPr>
      <dsp:spPr>
        <a:xfrm>
          <a:off x="3530070" y="1377660"/>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2538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User error protection</a:t>
          </a:r>
        </a:p>
      </dsp:txBody>
      <dsp:txXfrm>
        <a:off x="3543154" y="1390744"/>
        <a:ext cx="688567" cy="420541"/>
      </dsp:txXfrm>
    </dsp:sp>
    <dsp:sp modelId="{8A3AFC21-FCDC-294F-83C4-28C57F26AA02}">
      <dsp:nvSpPr>
        <dsp:cNvPr id="0" name=""/>
        <dsp:cNvSpPr/>
      </dsp:nvSpPr>
      <dsp:spPr>
        <a:xfrm>
          <a:off x="4468161" y="260886"/>
          <a:ext cx="893419" cy="446709"/>
        </a:xfrm>
        <a:prstGeom prst="roundRect">
          <a:avLst>
            <a:gd name="adj" fmla="val 10000"/>
          </a:avLst>
        </a:prstGeom>
        <a:solidFill>
          <a:schemeClr val="accent4">
            <a:hueOff val="0"/>
            <a:satOff val="0"/>
            <a:lumOff val="4190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Reliability</a:t>
          </a:r>
        </a:p>
      </dsp:txBody>
      <dsp:txXfrm>
        <a:off x="4481245" y="273970"/>
        <a:ext cx="867251" cy="420541"/>
      </dsp:txXfrm>
    </dsp:sp>
    <dsp:sp modelId="{E976EDA8-6C28-DE4A-87DF-710404B66FFB}">
      <dsp:nvSpPr>
        <dsp:cNvPr id="0" name=""/>
        <dsp:cNvSpPr/>
      </dsp:nvSpPr>
      <dsp:spPr>
        <a:xfrm>
          <a:off x="4511783" y="707595"/>
          <a:ext cx="91440" cy="335032"/>
        </a:xfrm>
        <a:custGeom>
          <a:avLst/>
          <a:gdLst/>
          <a:ahLst/>
          <a:cxnLst/>
          <a:rect l="0" t="0" r="0" b="0"/>
          <a:pathLst>
            <a:path>
              <a:moveTo>
                <a:pt x="45720" y="0"/>
              </a:moveTo>
              <a:lnTo>
                <a:pt x="45720" y="335032"/>
              </a:lnTo>
              <a:lnTo>
                <a:pt x="135061" y="335032"/>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3B72943-9D2C-B447-9862-078C01E5CD48}">
      <dsp:nvSpPr>
        <dsp:cNvPr id="0" name=""/>
        <dsp:cNvSpPr/>
      </dsp:nvSpPr>
      <dsp:spPr>
        <a:xfrm>
          <a:off x="4646845" y="819273"/>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2820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a:t>Availability</a:t>
          </a:r>
          <a:endParaRPr lang="en-US" sz="1000" b="1" kern="1200" dirty="0"/>
        </a:p>
      </dsp:txBody>
      <dsp:txXfrm>
        <a:off x="4659929" y="832357"/>
        <a:ext cx="688567" cy="420541"/>
      </dsp:txXfrm>
    </dsp:sp>
    <dsp:sp modelId="{9DD1C069-7EFF-BE4E-9BEF-C0171B20E754}">
      <dsp:nvSpPr>
        <dsp:cNvPr id="0" name=""/>
        <dsp:cNvSpPr/>
      </dsp:nvSpPr>
      <dsp:spPr>
        <a:xfrm>
          <a:off x="4511783" y="707595"/>
          <a:ext cx="91440" cy="893419"/>
        </a:xfrm>
        <a:custGeom>
          <a:avLst/>
          <a:gdLst/>
          <a:ahLst/>
          <a:cxnLst/>
          <a:rect l="0" t="0" r="0" b="0"/>
          <a:pathLst>
            <a:path>
              <a:moveTo>
                <a:pt x="45720" y="0"/>
              </a:moveTo>
              <a:lnTo>
                <a:pt x="45720" y="893419"/>
              </a:lnTo>
              <a:lnTo>
                <a:pt x="135061" y="893419"/>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4B23716-2CC8-5148-A061-F33F23804BE5}">
      <dsp:nvSpPr>
        <dsp:cNvPr id="0" name=""/>
        <dsp:cNvSpPr/>
      </dsp:nvSpPr>
      <dsp:spPr>
        <a:xfrm>
          <a:off x="4646845" y="1377660"/>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31026"/>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err="1"/>
            <a:t>Recoverab-ility</a:t>
          </a:r>
          <a:endParaRPr lang="en-US" sz="1000" b="1" kern="1200" dirty="0"/>
        </a:p>
      </dsp:txBody>
      <dsp:txXfrm>
        <a:off x="4659929" y="1390744"/>
        <a:ext cx="688567" cy="420541"/>
      </dsp:txXfrm>
    </dsp:sp>
    <dsp:sp modelId="{B558153D-11A8-6142-B758-300ACA5246DD}">
      <dsp:nvSpPr>
        <dsp:cNvPr id="0" name=""/>
        <dsp:cNvSpPr/>
      </dsp:nvSpPr>
      <dsp:spPr>
        <a:xfrm>
          <a:off x="4511783" y="707595"/>
          <a:ext cx="91440" cy="1451806"/>
        </a:xfrm>
        <a:custGeom>
          <a:avLst/>
          <a:gdLst/>
          <a:ahLst/>
          <a:cxnLst/>
          <a:rect l="0" t="0" r="0" b="0"/>
          <a:pathLst>
            <a:path>
              <a:moveTo>
                <a:pt x="45720" y="0"/>
              </a:moveTo>
              <a:lnTo>
                <a:pt x="45720" y="1451806"/>
              </a:lnTo>
              <a:lnTo>
                <a:pt x="135061" y="1451806"/>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F283CA6-EFED-9B45-B629-D2FA0BF4ADCB}">
      <dsp:nvSpPr>
        <dsp:cNvPr id="0" name=""/>
        <dsp:cNvSpPr/>
      </dsp:nvSpPr>
      <dsp:spPr>
        <a:xfrm>
          <a:off x="4646845" y="1936047"/>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33846"/>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Maturity </a:t>
          </a:r>
        </a:p>
      </dsp:txBody>
      <dsp:txXfrm>
        <a:off x="4659929" y="1949131"/>
        <a:ext cx="688567" cy="420541"/>
      </dsp:txXfrm>
    </dsp:sp>
    <dsp:sp modelId="{12865B71-5B1C-3140-BFB5-38937DC9BCE6}">
      <dsp:nvSpPr>
        <dsp:cNvPr id="0" name=""/>
        <dsp:cNvSpPr/>
      </dsp:nvSpPr>
      <dsp:spPr>
        <a:xfrm>
          <a:off x="4511783" y="707595"/>
          <a:ext cx="91440" cy="2010194"/>
        </a:xfrm>
        <a:custGeom>
          <a:avLst/>
          <a:gdLst/>
          <a:ahLst/>
          <a:cxnLst/>
          <a:rect l="0" t="0" r="0" b="0"/>
          <a:pathLst>
            <a:path>
              <a:moveTo>
                <a:pt x="45720" y="0"/>
              </a:moveTo>
              <a:lnTo>
                <a:pt x="45720" y="2010194"/>
              </a:lnTo>
              <a:lnTo>
                <a:pt x="135061" y="2010194"/>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BA92FFD-011E-CD40-84AF-075B95B64B93}">
      <dsp:nvSpPr>
        <dsp:cNvPr id="0" name=""/>
        <dsp:cNvSpPr/>
      </dsp:nvSpPr>
      <dsp:spPr>
        <a:xfrm>
          <a:off x="4646845" y="2494434"/>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3666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Fault tolerance </a:t>
          </a:r>
        </a:p>
      </dsp:txBody>
      <dsp:txXfrm>
        <a:off x="4659929" y="2507518"/>
        <a:ext cx="688567" cy="420541"/>
      </dsp:txXfrm>
    </dsp:sp>
    <dsp:sp modelId="{7C4B08AE-504D-5445-8927-ABADC132B1EA}">
      <dsp:nvSpPr>
        <dsp:cNvPr id="0" name=""/>
        <dsp:cNvSpPr/>
      </dsp:nvSpPr>
      <dsp:spPr>
        <a:xfrm>
          <a:off x="5584935" y="260886"/>
          <a:ext cx="893419" cy="446709"/>
        </a:xfrm>
        <a:prstGeom prst="roundRect">
          <a:avLst>
            <a:gd name="adj" fmla="val 10000"/>
          </a:avLst>
        </a:prstGeom>
        <a:solidFill>
          <a:schemeClr val="accent4">
            <a:hueOff val="0"/>
            <a:satOff val="0"/>
            <a:lumOff val="5238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Security </a:t>
          </a:r>
        </a:p>
      </dsp:txBody>
      <dsp:txXfrm>
        <a:off x="5598019" y="273970"/>
        <a:ext cx="867251" cy="420541"/>
      </dsp:txXfrm>
    </dsp:sp>
    <dsp:sp modelId="{6C7CCA5F-C27C-C242-A47B-5B9938F66569}">
      <dsp:nvSpPr>
        <dsp:cNvPr id="0" name=""/>
        <dsp:cNvSpPr/>
      </dsp:nvSpPr>
      <dsp:spPr>
        <a:xfrm>
          <a:off x="5628557" y="707595"/>
          <a:ext cx="91440" cy="335032"/>
        </a:xfrm>
        <a:custGeom>
          <a:avLst/>
          <a:gdLst/>
          <a:ahLst/>
          <a:cxnLst/>
          <a:rect l="0" t="0" r="0" b="0"/>
          <a:pathLst>
            <a:path>
              <a:moveTo>
                <a:pt x="45720" y="0"/>
              </a:moveTo>
              <a:lnTo>
                <a:pt x="45720" y="335032"/>
              </a:lnTo>
              <a:lnTo>
                <a:pt x="135061" y="335032"/>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B3581C4-2FD4-694B-98B7-571A5B50C826}">
      <dsp:nvSpPr>
        <dsp:cNvPr id="0" name=""/>
        <dsp:cNvSpPr/>
      </dsp:nvSpPr>
      <dsp:spPr>
        <a:xfrm>
          <a:off x="5763619" y="819273"/>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3948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a:t>Integrity </a:t>
          </a:r>
          <a:endParaRPr lang="en-US" sz="1000" b="1" kern="1200" dirty="0"/>
        </a:p>
      </dsp:txBody>
      <dsp:txXfrm>
        <a:off x="5776703" y="832357"/>
        <a:ext cx="688567" cy="420541"/>
      </dsp:txXfrm>
    </dsp:sp>
    <dsp:sp modelId="{4236FFC8-1C6E-D94D-BE64-0D9C3F213F9C}">
      <dsp:nvSpPr>
        <dsp:cNvPr id="0" name=""/>
        <dsp:cNvSpPr/>
      </dsp:nvSpPr>
      <dsp:spPr>
        <a:xfrm>
          <a:off x="5628557" y="707595"/>
          <a:ext cx="91440" cy="893419"/>
        </a:xfrm>
        <a:custGeom>
          <a:avLst/>
          <a:gdLst/>
          <a:ahLst/>
          <a:cxnLst/>
          <a:rect l="0" t="0" r="0" b="0"/>
          <a:pathLst>
            <a:path>
              <a:moveTo>
                <a:pt x="45720" y="0"/>
              </a:moveTo>
              <a:lnTo>
                <a:pt x="45720" y="893419"/>
              </a:lnTo>
              <a:lnTo>
                <a:pt x="135061" y="893419"/>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97B334E-E3E7-484A-94FD-9FE98B06E5D3}">
      <dsp:nvSpPr>
        <dsp:cNvPr id="0" name=""/>
        <dsp:cNvSpPr/>
      </dsp:nvSpPr>
      <dsp:spPr>
        <a:xfrm>
          <a:off x="5763619" y="1377660"/>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4230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a:t>Confidential-ity</a:t>
          </a:r>
          <a:endParaRPr lang="en-US" sz="1000" b="1" kern="1200" dirty="0"/>
        </a:p>
      </dsp:txBody>
      <dsp:txXfrm>
        <a:off x="5776703" y="1390744"/>
        <a:ext cx="688567" cy="420541"/>
      </dsp:txXfrm>
    </dsp:sp>
    <dsp:sp modelId="{1F173F23-D7E9-2140-98A9-81B7F6662385}">
      <dsp:nvSpPr>
        <dsp:cNvPr id="0" name=""/>
        <dsp:cNvSpPr/>
      </dsp:nvSpPr>
      <dsp:spPr>
        <a:xfrm>
          <a:off x="5628557" y="707595"/>
          <a:ext cx="91440" cy="1451806"/>
        </a:xfrm>
        <a:custGeom>
          <a:avLst/>
          <a:gdLst/>
          <a:ahLst/>
          <a:cxnLst/>
          <a:rect l="0" t="0" r="0" b="0"/>
          <a:pathLst>
            <a:path>
              <a:moveTo>
                <a:pt x="45720" y="0"/>
              </a:moveTo>
              <a:lnTo>
                <a:pt x="45720" y="1451806"/>
              </a:lnTo>
              <a:lnTo>
                <a:pt x="135061" y="1451806"/>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E3028E2-F2A6-A548-A078-22AA4CF2097D}">
      <dsp:nvSpPr>
        <dsp:cNvPr id="0" name=""/>
        <dsp:cNvSpPr/>
      </dsp:nvSpPr>
      <dsp:spPr>
        <a:xfrm>
          <a:off x="5763619" y="1936047"/>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4512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a:t>Non-repudiation</a:t>
          </a:r>
          <a:endParaRPr lang="en-US" sz="1000" b="1" kern="1200" dirty="0"/>
        </a:p>
      </dsp:txBody>
      <dsp:txXfrm>
        <a:off x="5776703" y="1949131"/>
        <a:ext cx="688567" cy="420541"/>
      </dsp:txXfrm>
    </dsp:sp>
    <dsp:sp modelId="{35EA8B6E-7CBA-3C46-ACBA-B28BF59A2486}">
      <dsp:nvSpPr>
        <dsp:cNvPr id="0" name=""/>
        <dsp:cNvSpPr/>
      </dsp:nvSpPr>
      <dsp:spPr>
        <a:xfrm>
          <a:off x="5628557" y="707595"/>
          <a:ext cx="91440" cy="2010194"/>
        </a:xfrm>
        <a:custGeom>
          <a:avLst/>
          <a:gdLst/>
          <a:ahLst/>
          <a:cxnLst/>
          <a:rect l="0" t="0" r="0" b="0"/>
          <a:pathLst>
            <a:path>
              <a:moveTo>
                <a:pt x="45720" y="0"/>
              </a:moveTo>
              <a:lnTo>
                <a:pt x="45720" y="2010194"/>
              </a:lnTo>
              <a:lnTo>
                <a:pt x="135061" y="2010194"/>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92E03E6-0390-364F-B243-BCD0C52801E2}">
      <dsp:nvSpPr>
        <dsp:cNvPr id="0" name=""/>
        <dsp:cNvSpPr/>
      </dsp:nvSpPr>
      <dsp:spPr>
        <a:xfrm>
          <a:off x="5763619" y="2494434"/>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4794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a:t>Accountab-ility</a:t>
          </a:r>
          <a:endParaRPr lang="en-US" sz="1000" b="1" kern="1200" dirty="0"/>
        </a:p>
      </dsp:txBody>
      <dsp:txXfrm>
        <a:off x="5776703" y="2507518"/>
        <a:ext cx="688567" cy="420541"/>
      </dsp:txXfrm>
    </dsp:sp>
    <dsp:sp modelId="{5E914F32-FE04-9D4B-B1A1-C47F3DB5E6F2}">
      <dsp:nvSpPr>
        <dsp:cNvPr id="0" name=""/>
        <dsp:cNvSpPr/>
      </dsp:nvSpPr>
      <dsp:spPr>
        <a:xfrm>
          <a:off x="5628557" y="707595"/>
          <a:ext cx="91440" cy="2568581"/>
        </a:xfrm>
        <a:custGeom>
          <a:avLst/>
          <a:gdLst/>
          <a:ahLst/>
          <a:cxnLst/>
          <a:rect l="0" t="0" r="0" b="0"/>
          <a:pathLst>
            <a:path>
              <a:moveTo>
                <a:pt x="45720" y="0"/>
              </a:moveTo>
              <a:lnTo>
                <a:pt x="45720" y="2568581"/>
              </a:lnTo>
              <a:lnTo>
                <a:pt x="135061" y="2568581"/>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C575E2B-BF36-C244-BFA9-0A26DD34CB23}">
      <dsp:nvSpPr>
        <dsp:cNvPr id="0" name=""/>
        <dsp:cNvSpPr/>
      </dsp:nvSpPr>
      <dsp:spPr>
        <a:xfrm>
          <a:off x="5763619" y="3052822"/>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5076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a:t>Authent-icity</a:t>
          </a:r>
          <a:endParaRPr lang="en-US" sz="1000" b="1" kern="1200" dirty="0"/>
        </a:p>
      </dsp:txBody>
      <dsp:txXfrm>
        <a:off x="5776703" y="3065906"/>
        <a:ext cx="688567" cy="420541"/>
      </dsp:txXfrm>
    </dsp:sp>
    <dsp:sp modelId="{51CA69B9-995A-3146-AEC4-A30299EAFD91}">
      <dsp:nvSpPr>
        <dsp:cNvPr id="0" name=""/>
        <dsp:cNvSpPr/>
      </dsp:nvSpPr>
      <dsp:spPr>
        <a:xfrm>
          <a:off x="6701710" y="260886"/>
          <a:ext cx="893419" cy="446709"/>
        </a:xfrm>
        <a:prstGeom prst="roundRect">
          <a:avLst>
            <a:gd name="adj" fmla="val 10000"/>
          </a:avLst>
        </a:prstGeom>
        <a:solidFill>
          <a:schemeClr val="accent4">
            <a:hueOff val="0"/>
            <a:satOff val="0"/>
            <a:lumOff val="6285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Maintain-ability</a:t>
          </a:r>
        </a:p>
      </dsp:txBody>
      <dsp:txXfrm>
        <a:off x="6714794" y="273970"/>
        <a:ext cx="867251" cy="420541"/>
      </dsp:txXfrm>
    </dsp:sp>
    <dsp:sp modelId="{437448C7-8D9E-894B-8A39-BF62597BFD1F}">
      <dsp:nvSpPr>
        <dsp:cNvPr id="0" name=""/>
        <dsp:cNvSpPr/>
      </dsp:nvSpPr>
      <dsp:spPr>
        <a:xfrm>
          <a:off x="6745332" y="707595"/>
          <a:ext cx="91440" cy="335032"/>
        </a:xfrm>
        <a:custGeom>
          <a:avLst/>
          <a:gdLst/>
          <a:ahLst/>
          <a:cxnLst/>
          <a:rect l="0" t="0" r="0" b="0"/>
          <a:pathLst>
            <a:path>
              <a:moveTo>
                <a:pt x="45720" y="0"/>
              </a:moveTo>
              <a:lnTo>
                <a:pt x="45720" y="335032"/>
              </a:lnTo>
              <a:lnTo>
                <a:pt x="135061" y="335032"/>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0FE65BA-CA7D-9B4B-8240-226E315E8C05}">
      <dsp:nvSpPr>
        <dsp:cNvPr id="0" name=""/>
        <dsp:cNvSpPr/>
      </dsp:nvSpPr>
      <dsp:spPr>
        <a:xfrm>
          <a:off x="6880394" y="819273"/>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5358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a:t>Modularity</a:t>
          </a:r>
          <a:endParaRPr lang="en-US" sz="1000" b="1" kern="1200" dirty="0"/>
        </a:p>
      </dsp:txBody>
      <dsp:txXfrm>
        <a:off x="6893478" y="832357"/>
        <a:ext cx="688567" cy="420541"/>
      </dsp:txXfrm>
    </dsp:sp>
    <dsp:sp modelId="{09E76712-CFC8-9047-BE35-9AED4279CA14}">
      <dsp:nvSpPr>
        <dsp:cNvPr id="0" name=""/>
        <dsp:cNvSpPr/>
      </dsp:nvSpPr>
      <dsp:spPr>
        <a:xfrm>
          <a:off x="6745332" y="707595"/>
          <a:ext cx="91440" cy="893419"/>
        </a:xfrm>
        <a:custGeom>
          <a:avLst/>
          <a:gdLst/>
          <a:ahLst/>
          <a:cxnLst/>
          <a:rect l="0" t="0" r="0" b="0"/>
          <a:pathLst>
            <a:path>
              <a:moveTo>
                <a:pt x="45720" y="0"/>
              </a:moveTo>
              <a:lnTo>
                <a:pt x="45720" y="893419"/>
              </a:lnTo>
              <a:lnTo>
                <a:pt x="135061" y="893419"/>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9C8AD72-1FF0-6D4F-ABDA-EF6C6C91D979}">
      <dsp:nvSpPr>
        <dsp:cNvPr id="0" name=""/>
        <dsp:cNvSpPr/>
      </dsp:nvSpPr>
      <dsp:spPr>
        <a:xfrm>
          <a:off x="6880394" y="1377660"/>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5641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err="1"/>
            <a:t>Reuseability</a:t>
          </a:r>
          <a:endParaRPr lang="en-US" sz="1000" b="1" kern="1200" dirty="0"/>
        </a:p>
      </dsp:txBody>
      <dsp:txXfrm>
        <a:off x="6893478" y="1390744"/>
        <a:ext cx="688567" cy="420541"/>
      </dsp:txXfrm>
    </dsp:sp>
    <dsp:sp modelId="{4D9FE055-ADA2-6C4F-B60B-7CBC43A089E6}">
      <dsp:nvSpPr>
        <dsp:cNvPr id="0" name=""/>
        <dsp:cNvSpPr/>
      </dsp:nvSpPr>
      <dsp:spPr>
        <a:xfrm>
          <a:off x="6745332" y="707595"/>
          <a:ext cx="91440" cy="1451806"/>
        </a:xfrm>
        <a:custGeom>
          <a:avLst/>
          <a:gdLst/>
          <a:ahLst/>
          <a:cxnLst/>
          <a:rect l="0" t="0" r="0" b="0"/>
          <a:pathLst>
            <a:path>
              <a:moveTo>
                <a:pt x="45720" y="0"/>
              </a:moveTo>
              <a:lnTo>
                <a:pt x="45720" y="1451806"/>
              </a:lnTo>
              <a:lnTo>
                <a:pt x="135061" y="1451806"/>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5C17912-BBD8-EA48-B033-E10027B13EC4}">
      <dsp:nvSpPr>
        <dsp:cNvPr id="0" name=""/>
        <dsp:cNvSpPr/>
      </dsp:nvSpPr>
      <dsp:spPr>
        <a:xfrm>
          <a:off x="6880394" y="1936047"/>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5923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err="1"/>
            <a:t>Modifiab-ility</a:t>
          </a:r>
          <a:endParaRPr lang="en-US" sz="1000" b="1" kern="1200" dirty="0"/>
        </a:p>
      </dsp:txBody>
      <dsp:txXfrm>
        <a:off x="6893478" y="1949131"/>
        <a:ext cx="688567" cy="420541"/>
      </dsp:txXfrm>
    </dsp:sp>
    <dsp:sp modelId="{5DF2E0AC-F16A-7B43-A3E3-38B736183D8E}">
      <dsp:nvSpPr>
        <dsp:cNvPr id="0" name=""/>
        <dsp:cNvSpPr/>
      </dsp:nvSpPr>
      <dsp:spPr>
        <a:xfrm>
          <a:off x="6745332" y="707595"/>
          <a:ext cx="91440" cy="2010194"/>
        </a:xfrm>
        <a:custGeom>
          <a:avLst/>
          <a:gdLst/>
          <a:ahLst/>
          <a:cxnLst/>
          <a:rect l="0" t="0" r="0" b="0"/>
          <a:pathLst>
            <a:path>
              <a:moveTo>
                <a:pt x="45720" y="0"/>
              </a:moveTo>
              <a:lnTo>
                <a:pt x="45720" y="2010194"/>
              </a:lnTo>
              <a:lnTo>
                <a:pt x="135061" y="2010194"/>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CF6F526-FB38-FE4D-A494-4DFFD18DA82E}">
      <dsp:nvSpPr>
        <dsp:cNvPr id="0" name=""/>
        <dsp:cNvSpPr/>
      </dsp:nvSpPr>
      <dsp:spPr>
        <a:xfrm>
          <a:off x="6880394" y="2494434"/>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6205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Testability</a:t>
          </a:r>
        </a:p>
      </dsp:txBody>
      <dsp:txXfrm>
        <a:off x="6893478" y="2507518"/>
        <a:ext cx="688567" cy="420541"/>
      </dsp:txXfrm>
    </dsp:sp>
    <dsp:sp modelId="{FC0FD8D0-996E-6443-9AFF-FC093786F2BB}">
      <dsp:nvSpPr>
        <dsp:cNvPr id="0" name=""/>
        <dsp:cNvSpPr/>
      </dsp:nvSpPr>
      <dsp:spPr>
        <a:xfrm>
          <a:off x="6745332" y="707595"/>
          <a:ext cx="91440" cy="2568581"/>
        </a:xfrm>
        <a:custGeom>
          <a:avLst/>
          <a:gdLst/>
          <a:ahLst/>
          <a:cxnLst/>
          <a:rect l="0" t="0" r="0" b="0"/>
          <a:pathLst>
            <a:path>
              <a:moveTo>
                <a:pt x="45720" y="0"/>
              </a:moveTo>
              <a:lnTo>
                <a:pt x="45720" y="2568581"/>
              </a:lnTo>
              <a:lnTo>
                <a:pt x="135061" y="2568581"/>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B9AE7A8-612B-0545-961B-2FB089BD92F9}">
      <dsp:nvSpPr>
        <dsp:cNvPr id="0" name=""/>
        <dsp:cNvSpPr/>
      </dsp:nvSpPr>
      <dsp:spPr>
        <a:xfrm>
          <a:off x="6880394" y="3052822"/>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6487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err="1"/>
            <a:t>Analyzab-ility</a:t>
          </a:r>
          <a:endParaRPr lang="en-US" sz="1000" b="1" kern="1200" dirty="0"/>
        </a:p>
      </dsp:txBody>
      <dsp:txXfrm>
        <a:off x="6893478" y="3065906"/>
        <a:ext cx="688567" cy="420541"/>
      </dsp:txXfrm>
    </dsp:sp>
    <dsp:sp modelId="{04A97591-A644-7A4E-A21C-0F455A246C0B}">
      <dsp:nvSpPr>
        <dsp:cNvPr id="0" name=""/>
        <dsp:cNvSpPr/>
      </dsp:nvSpPr>
      <dsp:spPr>
        <a:xfrm>
          <a:off x="7818484" y="260886"/>
          <a:ext cx="893419" cy="446709"/>
        </a:xfrm>
        <a:prstGeom prst="roundRect">
          <a:avLst>
            <a:gd name="adj" fmla="val 10000"/>
          </a:avLst>
        </a:prstGeom>
        <a:solidFill>
          <a:schemeClr val="accent4">
            <a:hueOff val="0"/>
            <a:satOff val="0"/>
            <a:lumOff val="7333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Portability</a:t>
          </a:r>
        </a:p>
      </dsp:txBody>
      <dsp:txXfrm>
        <a:off x="7831568" y="273970"/>
        <a:ext cx="867251" cy="420541"/>
      </dsp:txXfrm>
    </dsp:sp>
    <dsp:sp modelId="{B575AD4C-A0B9-C546-951C-87B42CC951D5}">
      <dsp:nvSpPr>
        <dsp:cNvPr id="0" name=""/>
        <dsp:cNvSpPr/>
      </dsp:nvSpPr>
      <dsp:spPr>
        <a:xfrm>
          <a:off x="7862106" y="707595"/>
          <a:ext cx="91440" cy="335032"/>
        </a:xfrm>
        <a:custGeom>
          <a:avLst/>
          <a:gdLst/>
          <a:ahLst/>
          <a:cxnLst/>
          <a:rect l="0" t="0" r="0" b="0"/>
          <a:pathLst>
            <a:path>
              <a:moveTo>
                <a:pt x="45720" y="0"/>
              </a:moveTo>
              <a:lnTo>
                <a:pt x="45720" y="335032"/>
              </a:lnTo>
              <a:lnTo>
                <a:pt x="135061" y="335032"/>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314026A-2F78-F84E-8045-6675029EDD49}">
      <dsp:nvSpPr>
        <dsp:cNvPr id="0" name=""/>
        <dsp:cNvSpPr/>
      </dsp:nvSpPr>
      <dsp:spPr>
        <a:xfrm>
          <a:off x="7997168" y="819273"/>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6769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err="1"/>
            <a:t>Installability</a:t>
          </a:r>
          <a:endParaRPr lang="en-US" sz="1000" b="1" kern="1200" dirty="0"/>
        </a:p>
      </dsp:txBody>
      <dsp:txXfrm>
        <a:off x="8010252" y="832357"/>
        <a:ext cx="688567" cy="420541"/>
      </dsp:txXfrm>
    </dsp:sp>
    <dsp:sp modelId="{16E58DE1-A091-5548-8240-35067CD2D11F}">
      <dsp:nvSpPr>
        <dsp:cNvPr id="0" name=""/>
        <dsp:cNvSpPr/>
      </dsp:nvSpPr>
      <dsp:spPr>
        <a:xfrm>
          <a:off x="7862106" y="707595"/>
          <a:ext cx="91440" cy="893419"/>
        </a:xfrm>
        <a:custGeom>
          <a:avLst/>
          <a:gdLst/>
          <a:ahLst/>
          <a:cxnLst/>
          <a:rect l="0" t="0" r="0" b="0"/>
          <a:pathLst>
            <a:path>
              <a:moveTo>
                <a:pt x="45720" y="0"/>
              </a:moveTo>
              <a:lnTo>
                <a:pt x="45720" y="893419"/>
              </a:lnTo>
              <a:lnTo>
                <a:pt x="135061" y="893419"/>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FCCE37F-D0FD-4444-9D80-DBC41CEF80D2}">
      <dsp:nvSpPr>
        <dsp:cNvPr id="0" name=""/>
        <dsp:cNvSpPr/>
      </dsp:nvSpPr>
      <dsp:spPr>
        <a:xfrm>
          <a:off x="7997168" y="1377660"/>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7051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Replace-ability</a:t>
          </a:r>
        </a:p>
      </dsp:txBody>
      <dsp:txXfrm>
        <a:off x="8010252" y="1390744"/>
        <a:ext cx="688567" cy="420541"/>
      </dsp:txXfrm>
    </dsp:sp>
    <dsp:sp modelId="{7DDFF29B-2975-EF45-B31C-ECD72FD9ABF0}">
      <dsp:nvSpPr>
        <dsp:cNvPr id="0" name=""/>
        <dsp:cNvSpPr/>
      </dsp:nvSpPr>
      <dsp:spPr>
        <a:xfrm>
          <a:off x="7862106" y="707595"/>
          <a:ext cx="91440" cy="1451806"/>
        </a:xfrm>
        <a:custGeom>
          <a:avLst/>
          <a:gdLst/>
          <a:ahLst/>
          <a:cxnLst/>
          <a:rect l="0" t="0" r="0" b="0"/>
          <a:pathLst>
            <a:path>
              <a:moveTo>
                <a:pt x="45720" y="0"/>
              </a:moveTo>
              <a:lnTo>
                <a:pt x="45720" y="1451806"/>
              </a:lnTo>
              <a:lnTo>
                <a:pt x="135061" y="1451806"/>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A801272-935B-9A41-A9D1-B14936F53555}">
      <dsp:nvSpPr>
        <dsp:cNvPr id="0" name=""/>
        <dsp:cNvSpPr/>
      </dsp:nvSpPr>
      <dsp:spPr>
        <a:xfrm>
          <a:off x="7997168" y="1936047"/>
          <a:ext cx="714735" cy="446709"/>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73333"/>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Adaptability</a:t>
          </a:r>
        </a:p>
      </dsp:txBody>
      <dsp:txXfrm>
        <a:off x="8010252" y="1949131"/>
        <a:ext cx="688567" cy="42054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D8ABC0C-6D7F-824A-921B-618D8A3A8EB1}">
      <dsp:nvSpPr>
        <dsp:cNvPr id="0" name=""/>
        <dsp:cNvSpPr/>
      </dsp:nvSpPr>
      <dsp:spPr>
        <a:xfrm>
          <a:off x="1276182" y="1501"/>
          <a:ext cx="1122043" cy="561021"/>
        </a:xfrm>
        <a:prstGeom prst="roundRect">
          <a:avLst>
            <a:gd name="adj" fmla="val 1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Interaction with External World</a:t>
          </a:r>
        </a:p>
      </dsp:txBody>
      <dsp:txXfrm>
        <a:off x="1292614" y="17933"/>
        <a:ext cx="1089179" cy="528157"/>
      </dsp:txXfrm>
    </dsp:sp>
    <dsp:sp modelId="{3F514349-0FED-5C41-B786-EE797FD6A6ED}">
      <dsp:nvSpPr>
        <dsp:cNvPr id="0" name=""/>
        <dsp:cNvSpPr/>
      </dsp:nvSpPr>
      <dsp:spPr>
        <a:xfrm>
          <a:off x="1388386" y="562522"/>
          <a:ext cx="112204" cy="420766"/>
        </a:xfrm>
        <a:custGeom>
          <a:avLst/>
          <a:gdLst/>
          <a:ahLst/>
          <a:cxnLst/>
          <a:rect l="0" t="0" r="0" b="0"/>
          <a:pathLst>
            <a:path>
              <a:moveTo>
                <a:pt x="0" y="0"/>
              </a:moveTo>
              <a:lnTo>
                <a:pt x="0" y="420766"/>
              </a:lnTo>
              <a:lnTo>
                <a:pt x="112204" y="42076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0D6F72C5-DE37-E941-AD44-5970467C2A96}">
      <dsp:nvSpPr>
        <dsp:cNvPr id="0" name=""/>
        <dsp:cNvSpPr/>
      </dsp:nvSpPr>
      <dsp:spPr>
        <a:xfrm>
          <a:off x="1500590" y="702778"/>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Centralized Oracle</a:t>
          </a:r>
        </a:p>
      </dsp:txBody>
      <dsp:txXfrm>
        <a:off x="1517022" y="719210"/>
        <a:ext cx="864770" cy="528157"/>
      </dsp:txXfrm>
    </dsp:sp>
    <dsp:sp modelId="{D5ADA3D3-42F7-7E46-8A26-E9B8F121314A}">
      <dsp:nvSpPr>
        <dsp:cNvPr id="0" name=""/>
        <dsp:cNvSpPr/>
      </dsp:nvSpPr>
      <dsp:spPr>
        <a:xfrm>
          <a:off x="1388386" y="562522"/>
          <a:ext cx="112204" cy="1122043"/>
        </a:xfrm>
        <a:custGeom>
          <a:avLst/>
          <a:gdLst/>
          <a:ahLst/>
          <a:cxnLst/>
          <a:rect l="0" t="0" r="0" b="0"/>
          <a:pathLst>
            <a:path>
              <a:moveTo>
                <a:pt x="0" y="0"/>
              </a:moveTo>
              <a:lnTo>
                <a:pt x="0" y="1122043"/>
              </a:lnTo>
              <a:lnTo>
                <a:pt x="112204" y="1122043"/>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5829D355-4F9B-754E-8384-23AF734D3DC1}">
      <dsp:nvSpPr>
        <dsp:cNvPr id="0" name=""/>
        <dsp:cNvSpPr/>
      </dsp:nvSpPr>
      <dsp:spPr>
        <a:xfrm>
          <a:off x="1500590" y="1404055"/>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Decentralized Oracle</a:t>
          </a:r>
        </a:p>
      </dsp:txBody>
      <dsp:txXfrm>
        <a:off x="1517022" y="1420487"/>
        <a:ext cx="864770" cy="528157"/>
      </dsp:txXfrm>
    </dsp:sp>
    <dsp:sp modelId="{0D5AF32C-FEAC-B940-AEF9-113FD4C540C5}">
      <dsp:nvSpPr>
        <dsp:cNvPr id="0" name=""/>
        <dsp:cNvSpPr/>
      </dsp:nvSpPr>
      <dsp:spPr>
        <a:xfrm>
          <a:off x="1388386" y="562522"/>
          <a:ext cx="112204" cy="1823319"/>
        </a:xfrm>
        <a:custGeom>
          <a:avLst/>
          <a:gdLst/>
          <a:ahLst/>
          <a:cxnLst/>
          <a:rect l="0" t="0" r="0" b="0"/>
          <a:pathLst>
            <a:path>
              <a:moveTo>
                <a:pt x="0" y="0"/>
              </a:moveTo>
              <a:lnTo>
                <a:pt x="0" y="1823319"/>
              </a:lnTo>
              <a:lnTo>
                <a:pt x="112204" y="1823319"/>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710A9C0B-B81D-0947-8B02-F4620CE15477}">
      <dsp:nvSpPr>
        <dsp:cNvPr id="0" name=""/>
        <dsp:cNvSpPr/>
      </dsp:nvSpPr>
      <dsp:spPr>
        <a:xfrm>
          <a:off x="1500590" y="2105332"/>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Voting</a:t>
          </a:r>
        </a:p>
      </dsp:txBody>
      <dsp:txXfrm>
        <a:off x="1517022" y="2121764"/>
        <a:ext cx="864770" cy="528157"/>
      </dsp:txXfrm>
    </dsp:sp>
    <dsp:sp modelId="{59399A21-1752-9641-909F-1DF60D99EC93}">
      <dsp:nvSpPr>
        <dsp:cNvPr id="0" name=""/>
        <dsp:cNvSpPr/>
      </dsp:nvSpPr>
      <dsp:spPr>
        <a:xfrm>
          <a:off x="1388386" y="562522"/>
          <a:ext cx="112204" cy="2524596"/>
        </a:xfrm>
        <a:custGeom>
          <a:avLst/>
          <a:gdLst/>
          <a:ahLst/>
          <a:cxnLst/>
          <a:rect l="0" t="0" r="0" b="0"/>
          <a:pathLst>
            <a:path>
              <a:moveTo>
                <a:pt x="0" y="0"/>
              </a:moveTo>
              <a:lnTo>
                <a:pt x="0" y="2524596"/>
              </a:lnTo>
              <a:lnTo>
                <a:pt x="112204" y="252459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169F2B92-7101-9A4A-83D1-C2CF5AF28505}">
      <dsp:nvSpPr>
        <dsp:cNvPr id="0" name=""/>
        <dsp:cNvSpPr/>
      </dsp:nvSpPr>
      <dsp:spPr>
        <a:xfrm>
          <a:off x="1500590" y="2806609"/>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Legal and Smart Contract Pair</a:t>
          </a:r>
        </a:p>
      </dsp:txBody>
      <dsp:txXfrm>
        <a:off x="1517022" y="2823041"/>
        <a:ext cx="864770" cy="528157"/>
      </dsp:txXfrm>
    </dsp:sp>
    <dsp:sp modelId="{C1B131E3-501B-D54B-87C3-86BF06BB35E8}">
      <dsp:nvSpPr>
        <dsp:cNvPr id="0" name=""/>
        <dsp:cNvSpPr/>
      </dsp:nvSpPr>
      <dsp:spPr>
        <a:xfrm>
          <a:off x="1388386" y="562522"/>
          <a:ext cx="112204" cy="3225873"/>
        </a:xfrm>
        <a:custGeom>
          <a:avLst/>
          <a:gdLst/>
          <a:ahLst/>
          <a:cxnLst/>
          <a:rect l="0" t="0" r="0" b="0"/>
          <a:pathLst>
            <a:path>
              <a:moveTo>
                <a:pt x="0" y="0"/>
              </a:moveTo>
              <a:lnTo>
                <a:pt x="0" y="3225873"/>
              </a:lnTo>
              <a:lnTo>
                <a:pt x="112204" y="3225873"/>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4A6CB5A3-1BA1-7E4B-8C56-627C34B6ECD3}">
      <dsp:nvSpPr>
        <dsp:cNvPr id="0" name=""/>
        <dsp:cNvSpPr/>
      </dsp:nvSpPr>
      <dsp:spPr>
        <a:xfrm>
          <a:off x="1500590" y="3507886"/>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Reverse Oracle</a:t>
          </a:r>
        </a:p>
      </dsp:txBody>
      <dsp:txXfrm>
        <a:off x="1517022" y="3524318"/>
        <a:ext cx="864770" cy="528157"/>
      </dsp:txXfrm>
    </dsp:sp>
    <dsp:sp modelId="{587C74AE-3394-DC49-8CB1-76A0BCD058A4}">
      <dsp:nvSpPr>
        <dsp:cNvPr id="0" name=""/>
        <dsp:cNvSpPr/>
      </dsp:nvSpPr>
      <dsp:spPr>
        <a:xfrm>
          <a:off x="2678736" y="1501"/>
          <a:ext cx="1122043" cy="561021"/>
        </a:xfrm>
        <a:prstGeom prst="roundRect">
          <a:avLst>
            <a:gd name="adj" fmla="val 1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Data Management</a:t>
          </a:r>
        </a:p>
      </dsp:txBody>
      <dsp:txXfrm>
        <a:off x="2695168" y="17933"/>
        <a:ext cx="1089179" cy="528157"/>
      </dsp:txXfrm>
    </dsp:sp>
    <dsp:sp modelId="{BA439008-8DC7-6F4F-BB51-CC1D048D6E8D}">
      <dsp:nvSpPr>
        <dsp:cNvPr id="0" name=""/>
        <dsp:cNvSpPr/>
      </dsp:nvSpPr>
      <dsp:spPr>
        <a:xfrm>
          <a:off x="2790940" y="562522"/>
          <a:ext cx="112204" cy="420766"/>
        </a:xfrm>
        <a:custGeom>
          <a:avLst/>
          <a:gdLst/>
          <a:ahLst/>
          <a:cxnLst/>
          <a:rect l="0" t="0" r="0" b="0"/>
          <a:pathLst>
            <a:path>
              <a:moveTo>
                <a:pt x="0" y="0"/>
              </a:moveTo>
              <a:lnTo>
                <a:pt x="0" y="420766"/>
              </a:lnTo>
              <a:lnTo>
                <a:pt x="112204" y="42076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EC7CC600-EAD4-7449-B71C-71141DC3A933}">
      <dsp:nvSpPr>
        <dsp:cNvPr id="0" name=""/>
        <dsp:cNvSpPr/>
      </dsp:nvSpPr>
      <dsp:spPr>
        <a:xfrm>
          <a:off x="2903144" y="702778"/>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Off-chain Data Storage</a:t>
          </a:r>
        </a:p>
      </dsp:txBody>
      <dsp:txXfrm>
        <a:off x="2919576" y="719210"/>
        <a:ext cx="864770" cy="528157"/>
      </dsp:txXfrm>
    </dsp:sp>
    <dsp:sp modelId="{E10A6EA2-0E21-A04F-8004-BFC9A0538066}">
      <dsp:nvSpPr>
        <dsp:cNvPr id="0" name=""/>
        <dsp:cNvSpPr/>
      </dsp:nvSpPr>
      <dsp:spPr>
        <a:xfrm>
          <a:off x="2790940" y="562522"/>
          <a:ext cx="112204" cy="1122043"/>
        </a:xfrm>
        <a:custGeom>
          <a:avLst/>
          <a:gdLst/>
          <a:ahLst/>
          <a:cxnLst/>
          <a:rect l="0" t="0" r="0" b="0"/>
          <a:pathLst>
            <a:path>
              <a:moveTo>
                <a:pt x="0" y="0"/>
              </a:moveTo>
              <a:lnTo>
                <a:pt x="0" y="1122043"/>
              </a:lnTo>
              <a:lnTo>
                <a:pt x="112204" y="1122043"/>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0802B708-C3AC-C64A-B8CF-25D102BF4DB4}">
      <dsp:nvSpPr>
        <dsp:cNvPr id="0" name=""/>
        <dsp:cNvSpPr/>
      </dsp:nvSpPr>
      <dsp:spPr>
        <a:xfrm>
          <a:off x="2903144" y="1404055"/>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State Channel</a:t>
          </a:r>
        </a:p>
      </dsp:txBody>
      <dsp:txXfrm>
        <a:off x="2919576" y="1420487"/>
        <a:ext cx="864770" cy="528157"/>
      </dsp:txXfrm>
    </dsp:sp>
    <dsp:sp modelId="{BF408421-FF0A-F54E-B93E-57AA7AC549C4}">
      <dsp:nvSpPr>
        <dsp:cNvPr id="0" name=""/>
        <dsp:cNvSpPr/>
      </dsp:nvSpPr>
      <dsp:spPr>
        <a:xfrm>
          <a:off x="2790940" y="562522"/>
          <a:ext cx="112204" cy="1823319"/>
        </a:xfrm>
        <a:custGeom>
          <a:avLst/>
          <a:gdLst/>
          <a:ahLst/>
          <a:cxnLst/>
          <a:rect l="0" t="0" r="0" b="0"/>
          <a:pathLst>
            <a:path>
              <a:moveTo>
                <a:pt x="0" y="0"/>
              </a:moveTo>
              <a:lnTo>
                <a:pt x="0" y="1823319"/>
              </a:lnTo>
              <a:lnTo>
                <a:pt x="112204" y="1823319"/>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0F6014B9-FF15-0546-AA04-F591028B596A}">
      <dsp:nvSpPr>
        <dsp:cNvPr id="0" name=""/>
        <dsp:cNvSpPr/>
      </dsp:nvSpPr>
      <dsp:spPr>
        <a:xfrm>
          <a:off x="2903144" y="2105332"/>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Encrypting On-chain Data</a:t>
          </a:r>
        </a:p>
      </dsp:txBody>
      <dsp:txXfrm>
        <a:off x="2919576" y="2121764"/>
        <a:ext cx="864770" cy="528157"/>
      </dsp:txXfrm>
    </dsp:sp>
    <dsp:sp modelId="{BEB443A0-BDD9-EC4C-9347-4016B3AFF79C}">
      <dsp:nvSpPr>
        <dsp:cNvPr id="0" name=""/>
        <dsp:cNvSpPr/>
      </dsp:nvSpPr>
      <dsp:spPr>
        <a:xfrm>
          <a:off x="2790940" y="562522"/>
          <a:ext cx="112204" cy="2524596"/>
        </a:xfrm>
        <a:custGeom>
          <a:avLst/>
          <a:gdLst/>
          <a:ahLst/>
          <a:cxnLst/>
          <a:rect l="0" t="0" r="0" b="0"/>
          <a:pathLst>
            <a:path>
              <a:moveTo>
                <a:pt x="0" y="0"/>
              </a:moveTo>
              <a:lnTo>
                <a:pt x="0" y="2524596"/>
              </a:lnTo>
              <a:lnTo>
                <a:pt x="112204" y="252459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BEF1671F-3DF5-494B-AE25-2434EBDA1A68}">
      <dsp:nvSpPr>
        <dsp:cNvPr id="0" name=""/>
        <dsp:cNvSpPr/>
      </dsp:nvSpPr>
      <dsp:spPr>
        <a:xfrm>
          <a:off x="2903144" y="2806609"/>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err="1"/>
            <a:t>Tokenisation</a:t>
          </a:r>
          <a:endParaRPr lang="en-US" sz="1100" b="1" kern="1200" dirty="0"/>
        </a:p>
      </dsp:txBody>
      <dsp:txXfrm>
        <a:off x="2919576" y="2823041"/>
        <a:ext cx="864770" cy="528157"/>
      </dsp:txXfrm>
    </dsp:sp>
    <dsp:sp modelId="{7634BA55-D044-B248-8F77-5614E76D7120}">
      <dsp:nvSpPr>
        <dsp:cNvPr id="0" name=""/>
        <dsp:cNvSpPr/>
      </dsp:nvSpPr>
      <dsp:spPr>
        <a:xfrm>
          <a:off x="4081289" y="1501"/>
          <a:ext cx="1122043" cy="561021"/>
        </a:xfrm>
        <a:prstGeom prst="roundRect">
          <a:avLst>
            <a:gd name="adj" fmla="val 1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Security</a:t>
          </a:r>
        </a:p>
      </dsp:txBody>
      <dsp:txXfrm>
        <a:off x="4097721" y="17933"/>
        <a:ext cx="1089179" cy="528157"/>
      </dsp:txXfrm>
    </dsp:sp>
    <dsp:sp modelId="{1AE04E00-72C6-3B42-81CF-52ED553CDC38}">
      <dsp:nvSpPr>
        <dsp:cNvPr id="0" name=""/>
        <dsp:cNvSpPr/>
      </dsp:nvSpPr>
      <dsp:spPr>
        <a:xfrm>
          <a:off x="4193494" y="562522"/>
          <a:ext cx="112204" cy="420766"/>
        </a:xfrm>
        <a:custGeom>
          <a:avLst/>
          <a:gdLst/>
          <a:ahLst/>
          <a:cxnLst/>
          <a:rect l="0" t="0" r="0" b="0"/>
          <a:pathLst>
            <a:path>
              <a:moveTo>
                <a:pt x="0" y="0"/>
              </a:moveTo>
              <a:lnTo>
                <a:pt x="0" y="420766"/>
              </a:lnTo>
              <a:lnTo>
                <a:pt x="112204" y="42076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357FEADB-5D8F-E343-88F9-3F0C634B3357}">
      <dsp:nvSpPr>
        <dsp:cNvPr id="0" name=""/>
        <dsp:cNvSpPr/>
      </dsp:nvSpPr>
      <dsp:spPr>
        <a:xfrm>
          <a:off x="4305698" y="702778"/>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Dynamic Authorization</a:t>
          </a:r>
        </a:p>
      </dsp:txBody>
      <dsp:txXfrm>
        <a:off x="4322130" y="719210"/>
        <a:ext cx="864770" cy="528157"/>
      </dsp:txXfrm>
    </dsp:sp>
    <dsp:sp modelId="{616DEDF7-72CD-4B41-826B-4210486F480B}">
      <dsp:nvSpPr>
        <dsp:cNvPr id="0" name=""/>
        <dsp:cNvSpPr/>
      </dsp:nvSpPr>
      <dsp:spPr>
        <a:xfrm>
          <a:off x="4193494" y="562522"/>
          <a:ext cx="112204" cy="1122043"/>
        </a:xfrm>
        <a:custGeom>
          <a:avLst/>
          <a:gdLst/>
          <a:ahLst/>
          <a:cxnLst/>
          <a:rect l="0" t="0" r="0" b="0"/>
          <a:pathLst>
            <a:path>
              <a:moveTo>
                <a:pt x="0" y="0"/>
              </a:moveTo>
              <a:lnTo>
                <a:pt x="0" y="1122043"/>
              </a:lnTo>
              <a:lnTo>
                <a:pt x="112204" y="1122043"/>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CE2BE487-796D-8A42-81EB-73B1FF7FA130}">
      <dsp:nvSpPr>
        <dsp:cNvPr id="0" name=""/>
        <dsp:cNvSpPr/>
      </dsp:nvSpPr>
      <dsp:spPr>
        <a:xfrm>
          <a:off x="4305698" y="1404055"/>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Multiple Authorization</a:t>
          </a:r>
        </a:p>
      </dsp:txBody>
      <dsp:txXfrm>
        <a:off x="4322130" y="1420487"/>
        <a:ext cx="864770" cy="528157"/>
      </dsp:txXfrm>
    </dsp:sp>
    <dsp:sp modelId="{161E2220-9CCC-FC4A-8FB2-63C6E682F6DF}">
      <dsp:nvSpPr>
        <dsp:cNvPr id="0" name=""/>
        <dsp:cNvSpPr/>
      </dsp:nvSpPr>
      <dsp:spPr>
        <a:xfrm>
          <a:off x="4193494" y="562522"/>
          <a:ext cx="112204" cy="1823319"/>
        </a:xfrm>
        <a:custGeom>
          <a:avLst/>
          <a:gdLst/>
          <a:ahLst/>
          <a:cxnLst/>
          <a:rect l="0" t="0" r="0" b="0"/>
          <a:pathLst>
            <a:path>
              <a:moveTo>
                <a:pt x="0" y="0"/>
              </a:moveTo>
              <a:lnTo>
                <a:pt x="0" y="1823319"/>
              </a:lnTo>
              <a:lnTo>
                <a:pt x="112204" y="1823319"/>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4E24FB6B-4ED1-9B47-AF93-F82344D22B18}">
      <dsp:nvSpPr>
        <dsp:cNvPr id="0" name=""/>
        <dsp:cNvSpPr/>
      </dsp:nvSpPr>
      <dsp:spPr>
        <a:xfrm>
          <a:off x="4305698" y="2105332"/>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X-confirmation</a:t>
          </a:r>
        </a:p>
      </dsp:txBody>
      <dsp:txXfrm>
        <a:off x="4322130" y="2121764"/>
        <a:ext cx="864770" cy="528157"/>
      </dsp:txXfrm>
    </dsp:sp>
    <dsp:sp modelId="{62372CAD-8CEA-5249-B725-06E12ECDABED}">
      <dsp:nvSpPr>
        <dsp:cNvPr id="0" name=""/>
        <dsp:cNvSpPr/>
      </dsp:nvSpPr>
      <dsp:spPr>
        <a:xfrm>
          <a:off x="4193494" y="562522"/>
          <a:ext cx="112204" cy="2524596"/>
        </a:xfrm>
        <a:custGeom>
          <a:avLst/>
          <a:gdLst/>
          <a:ahLst/>
          <a:cxnLst/>
          <a:rect l="0" t="0" r="0" b="0"/>
          <a:pathLst>
            <a:path>
              <a:moveTo>
                <a:pt x="0" y="0"/>
              </a:moveTo>
              <a:lnTo>
                <a:pt x="0" y="2524596"/>
              </a:lnTo>
              <a:lnTo>
                <a:pt x="112204" y="252459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B14971FA-8479-2647-910A-061B76333F31}">
      <dsp:nvSpPr>
        <dsp:cNvPr id="0" name=""/>
        <dsp:cNvSpPr/>
      </dsp:nvSpPr>
      <dsp:spPr>
        <a:xfrm>
          <a:off x="4305698" y="2806609"/>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Security Deposit</a:t>
          </a:r>
        </a:p>
      </dsp:txBody>
      <dsp:txXfrm>
        <a:off x="4322130" y="2823041"/>
        <a:ext cx="864770" cy="528157"/>
      </dsp:txXfrm>
    </dsp:sp>
    <dsp:sp modelId="{2FA8F23F-35CD-C54A-8783-629A03772AEC}">
      <dsp:nvSpPr>
        <dsp:cNvPr id="0" name=""/>
        <dsp:cNvSpPr/>
      </dsp:nvSpPr>
      <dsp:spPr>
        <a:xfrm>
          <a:off x="5483843" y="1501"/>
          <a:ext cx="1122043" cy="561021"/>
        </a:xfrm>
        <a:prstGeom prst="roundRect">
          <a:avLst>
            <a:gd name="adj" fmla="val 1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Contract Structural Patterns</a:t>
          </a:r>
        </a:p>
      </dsp:txBody>
      <dsp:txXfrm>
        <a:off x="5500275" y="17933"/>
        <a:ext cx="1089179" cy="528157"/>
      </dsp:txXfrm>
    </dsp:sp>
    <dsp:sp modelId="{9E84B493-25F5-DF4D-8ECA-FEBA7BDB38A6}">
      <dsp:nvSpPr>
        <dsp:cNvPr id="0" name=""/>
        <dsp:cNvSpPr/>
      </dsp:nvSpPr>
      <dsp:spPr>
        <a:xfrm>
          <a:off x="5596048" y="562522"/>
          <a:ext cx="112204" cy="420766"/>
        </a:xfrm>
        <a:custGeom>
          <a:avLst/>
          <a:gdLst/>
          <a:ahLst/>
          <a:cxnLst/>
          <a:rect l="0" t="0" r="0" b="0"/>
          <a:pathLst>
            <a:path>
              <a:moveTo>
                <a:pt x="0" y="0"/>
              </a:moveTo>
              <a:lnTo>
                <a:pt x="0" y="420766"/>
              </a:lnTo>
              <a:lnTo>
                <a:pt x="112204" y="42076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6383FD56-CDCD-2945-B041-9B16034E0889}">
      <dsp:nvSpPr>
        <dsp:cNvPr id="0" name=""/>
        <dsp:cNvSpPr/>
      </dsp:nvSpPr>
      <dsp:spPr>
        <a:xfrm>
          <a:off x="5708252" y="702778"/>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Contract Registry</a:t>
          </a:r>
        </a:p>
      </dsp:txBody>
      <dsp:txXfrm>
        <a:off x="5724684" y="719210"/>
        <a:ext cx="864770" cy="528157"/>
      </dsp:txXfrm>
    </dsp:sp>
    <dsp:sp modelId="{3FB2E1DB-7F77-A940-A44D-A2EBF02F6AA8}">
      <dsp:nvSpPr>
        <dsp:cNvPr id="0" name=""/>
        <dsp:cNvSpPr/>
      </dsp:nvSpPr>
      <dsp:spPr>
        <a:xfrm>
          <a:off x="5596048" y="562522"/>
          <a:ext cx="112204" cy="1122043"/>
        </a:xfrm>
        <a:custGeom>
          <a:avLst/>
          <a:gdLst/>
          <a:ahLst/>
          <a:cxnLst/>
          <a:rect l="0" t="0" r="0" b="0"/>
          <a:pathLst>
            <a:path>
              <a:moveTo>
                <a:pt x="0" y="0"/>
              </a:moveTo>
              <a:lnTo>
                <a:pt x="0" y="1122043"/>
              </a:lnTo>
              <a:lnTo>
                <a:pt x="112204" y="1122043"/>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84AF0035-BFE5-2044-A7EB-39D21B6B4C23}">
      <dsp:nvSpPr>
        <dsp:cNvPr id="0" name=""/>
        <dsp:cNvSpPr/>
      </dsp:nvSpPr>
      <dsp:spPr>
        <a:xfrm>
          <a:off x="5708252" y="1404055"/>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Embedded Permission</a:t>
          </a:r>
        </a:p>
      </dsp:txBody>
      <dsp:txXfrm>
        <a:off x="5724684" y="1420487"/>
        <a:ext cx="864770" cy="528157"/>
      </dsp:txXfrm>
    </dsp:sp>
    <dsp:sp modelId="{6544270F-F7B6-E049-B33D-1DD08D2C8DA4}">
      <dsp:nvSpPr>
        <dsp:cNvPr id="0" name=""/>
        <dsp:cNvSpPr/>
      </dsp:nvSpPr>
      <dsp:spPr>
        <a:xfrm>
          <a:off x="5596048" y="562522"/>
          <a:ext cx="112204" cy="1823319"/>
        </a:xfrm>
        <a:custGeom>
          <a:avLst/>
          <a:gdLst/>
          <a:ahLst/>
          <a:cxnLst/>
          <a:rect l="0" t="0" r="0" b="0"/>
          <a:pathLst>
            <a:path>
              <a:moveTo>
                <a:pt x="0" y="0"/>
              </a:moveTo>
              <a:lnTo>
                <a:pt x="0" y="1823319"/>
              </a:lnTo>
              <a:lnTo>
                <a:pt x="112204" y="1823319"/>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CD3B654E-F569-E741-95FD-BAEB3D862512}">
      <dsp:nvSpPr>
        <dsp:cNvPr id="0" name=""/>
        <dsp:cNvSpPr/>
      </dsp:nvSpPr>
      <dsp:spPr>
        <a:xfrm>
          <a:off x="5708252" y="2105332"/>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Data Contract</a:t>
          </a:r>
        </a:p>
      </dsp:txBody>
      <dsp:txXfrm>
        <a:off x="5724684" y="2121764"/>
        <a:ext cx="864770" cy="528157"/>
      </dsp:txXfrm>
    </dsp:sp>
    <dsp:sp modelId="{A766C9EF-D2E9-D042-A8CB-171425FDB28D}">
      <dsp:nvSpPr>
        <dsp:cNvPr id="0" name=""/>
        <dsp:cNvSpPr/>
      </dsp:nvSpPr>
      <dsp:spPr>
        <a:xfrm>
          <a:off x="5596048" y="562522"/>
          <a:ext cx="112204" cy="2524596"/>
        </a:xfrm>
        <a:custGeom>
          <a:avLst/>
          <a:gdLst/>
          <a:ahLst/>
          <a:cxnLst/>
          <a:rect l="0" t="0" r="0" b="0"/>
          <a:pathLst>
            <a:path>
              <a:moveTo>
                <a:pt x="0" y="0"/>
              </a:moveTo>
              <a:lnTo>
                <a:pt x="0" y="2524596"/>
              </a:lnTo>
              <a:lnTo>
                <a:pt x="112204" y="252459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E6601567-ED76-D74F-A58C-75189A8C23BF}">
      <dsp:nvSpPr>
        <dsp:cNvPr id="0" name=""/>
        <dsp:cNvSpPr/>
      </dsp:nvSpPr>
      <dsp:spPr>
        <a:xfrm>
          <a:off x="5708252" y="2806609"/>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Factory Contract</a:t>
          </a:r>
        </a:p>
      </dsp:txBody>
      <dsp:txXfrm>
        <a:off x="5724684" y="2823041"/>
        <a:ext cx="864770" cy="528157"/>
      </dsp:txXfrm>
    </dsp:sp>
    <dsp:sp modelId="{4775D44D-645E-E249-ADDE-D82E8C608398}">
      <dsp:nvSpPr>
        <dsp:cNvPr id="0" name=""/>
        <dsp:cNvSpPr/>
      </dsp:nvSpPr>
      <dsp:spPr>
        <a:xfrm>
          <a:off x="5596048" y="562522"/>
          <a:ext cx="112204" cy="3225873"/>
        </a:xfrm>
        <a:custGeom>
          <a:avLst/>
          <a:gdLst/>
          <a:ahLst/>
          <a:cxnLst/>
          <a:rect l="0" t="0" r="0" b="0"/>
          <a:pathLst>
            <a:path>
              <a:moveTo>
                <a:pt x="0" y="0"/>
              </a:moveTo>
              <a:lnTo>
                <a:pt x="0" y="3225873"/>
              </a:lnTo>
              <a:lnTo>
                <a:pt x="112204" y="3225873"/>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051EB7AD-8953-834A-8746-11F852A289E6}">
      <dsp:nvSpPr>
        <dsp:cNvPr id="0" name=""/>
        <dsp:cNvSpPr/>
      </dsp:nvSpPr>
      <dsp:spPr>
        <a:xfrm>
          <a:off x="5708252" y="3507886"/>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Incentive Execution</a:t>
          </a:r>
        </a:p>
      </dsp:txBody>
      <dsp:txXfrm>
        <a:off x="5724684" y="3524318"/>
        <a:ext cx="864770" cy="528157"/>
      </dsp:txXfrm>
    </dsp:sp>
    <dsp:sp modelId="{F22BDB45-6DFC-C945-B9D7-19948CF5FF0A}">
      <dsp:nvSpPr>
        <dsp:cNvPr id="0" name=""/>
        <dsp:cNvSpPr/>
      </dsp:nvSpPr>
      <dsp:spPr>
        <a:xfrm>
          <a:off x="6886397" y="1501"/>
          <a:ext cx="1122043" cy="561021"/>
        </a:xfrm>
        <a:prstGeom prst="roundRect">
          <a:avLst>
            <a:gd name="adj" fmla="val 1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Deployment</a:t>
          </a:r>
        </a:p>
      </dsp:txBody>
      <dsp:txXfrm>
        <a:off x="6902829" y="17933"/>
        <a:ext cx="1089179" cy="528157"/>
      </dsp:txXfrm>
    </dsp:sp>
    <dsp:sp modelId="{9BB28569-8A99-3547-82B9-E7AE7B791E8E}">
      <dsp:nvSpPr>
        <dsp:cNvPr id="0" name=""/>
        <dsp:cNvSpPr/>
      </dsp:nvSpPr>
      <dsp:spPr>
        <a:xfrm>
          <a:off x="6998601" y="562522"/>
          <a:ext cx="112204" cy="420766"/>
        </a:xfrm>
        <a:custGeom>
          <a:avLst/>
          <a:gdLst/>
          <a:ahLst/>
          <a:cxnLst/>
          <a:rect l="0" t="0" r="0" b="0"/>
          <a:pathLst>
            <a:path>
              <a:moveTo>
                <a:pt x="0" y="0"/>
              </a:moveTo>
              <a:lnTo>
                <a:pt x="0" y="420766"/>
              </a:lnTo>
              <a:lnTo>
                <a:pt x="112204" y="42076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D6C47007-297A-9149-B858-94EACBFC3B98}">
      <dsp:nvSpPr>
        <dsp:cNvPr id="0" name=""/>
        <dsp:cNvSpPr/>
      </dsp:nvSpPr>
      <dsp:spPr>
        <a:xfrm>
          <a:off x="7110806" y="702778"/>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Semi-</a:t>
          </a:r>
          <a:r>
            <a:rPr lang="en-US" sz="1100" b="1" kern="1200" dirty="0" err="1"/>
            <a:t>dapp</a:t>
          </a:r>
          <a:endParaRPr lang="en-US" sz="1100" b="1" kern="1200" dirty="0"/>
        </a:p>
      </dsp:txBody>
      <dsp:txXfrm>
        <a:off x="7127238" y="719210"/>
        <a:ext cx="864770" cy="528157"/>
      </dsp:txXfrm>
    </dsp:sp>
    <dsp:sp modelId="{57251F56-0827-F642-9213-6BAF8C24320C}">
      <dsp:nvSpPr>
        <dsp:cNvPr id="0" name=""/>
        <dsp:cNvSpPr/>
      </dsp:nvSpPr>
      <dsp:spPr>
        <a:xfrm>
          <a:off x="6998601" y="562522"/>
          <a:ext cx="112204" cy="1122043"/>
        </a:xfrm>
        <a:custGeom>
          <a:avLst/>
          <a:gdLst/>
          <a:ahLst/>
          <a:cxnLst/>
          <a:rect l="0" t="0" r="0" b="0"/>
          <a:pathLst>
            <a:path>
              <a:moveTo>
                <a:pt x="0" y="0"/>
              </a:moveTo>
              <a:lnTo>
                <a:pt x="0" y="1122043"/>
              </a:lnTo>
              <a:lnTo>
                <a:pt x="112204" y="1122043"/>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18EDD8C2-B42A-184F-9F26-A856FFE0B12C}">
      <dsp:nvSpPr>
        <dsp:cNvPr id="0" name=""/>
        <dsp:cNvSpPr/>
      </dsp:nvSpPr>
      <dsp:spPr>
        <a:xfrm>
          <a:off x="7110806" y="1404055"/>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err="1"/>
            <a:t>dapp</a:t>
          </a:r>
          <a:endParaRPr lang="en-US" sz="1100" b="1" kern="1200" dirty="0"/>
        </a:p>
      </dsp:txBody>
      <dsp:txXfrm>
        <a:off x="7127238" y="1420487"/>
        <a:ext cx="864770" cy="52815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8645229-794C-004D-A1C3-80B20FE346D6}">
      <dsp:nvSpPr>
        <dsp:cNvPr id="0" name=""/>
        <dsp:cNvSpPr/>
      </dsp:nvSpPr>
      <dsp:spPr>
        <a:xfrm>
          <a:off x="1176270" y="2061368"/>
          <a:ext cx="220001" cy="1892011"/>
        </a:xfrm>
        <a:custGeom>
          <a:avLst/>
          <a:gdLst/>
          <a:ahLst/>
          <a:cxnLst/>
          <a:rect l="0" t="0" r="0" b="0"/>
          <a:pathLst>
            <a:path>
              <a:moveTo>
                <a:pt x="0" y="0"/>
              </a:moveTo>
              <a:lnTo>
                <a:pt x="110000" y="0"/>
              </a:lnTo>
              <a:lnTo>
                <a:pt x="110000" y="1892011"/>
              </a:lnTo>
              <a:lnTo>
                <a:pt x="220001" y="1892011"/>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6416D42-0884-D447-B39A-6897E67A389B}">
      <dsp:nvSpPr>
        <dsp:cNvPr id="0" name=""/>
        <dsp:cNvSpPr/>
      </dsp:nvSpPr>
      <dsp:spPr>
        <a:xfrm>
          <a:off x="1176270" y="2061368"/>
          <a:ext cx="220001" cy="1419008"/>
        </a:xfrm>
        <a:custGeom>
          <a:avLst/>
          <a:gdLst/>
          <a:ahLst/>
          <a:cxnLst/>
          <a:rect l="0" t="0" r="0" b="0"/>
          <a:pathLst>
            <a:path>
              <a:moveTo>
                <a:pt x="0" y="0"/>
              </a:moveTo>
              <a:lnTo>
                <a:pt x="110000" y="0"/>
              </a:lnTo>
              <a:lnTo>
                <a:pt x="110000" y="1419008"/>
              </a:lnTo>
              <a:lnTo>
                <a:pt x="220001" y="1419008"/>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70A53D6-C946-F24F-837C-9831902AEC17}">
      <dsp:nvSpPr>
        <dsp:cNvPr id="0" name=""/>
        <dsp:cNvSpPr/>
      </dsp:nvSpPr>
      <dsp:spPr>
        <a:xfrm>
          <a:off x="2496278" y="3007374"/>
          <a:ext cx="220001" cy="236501"/>
        </a:xfrm>
        <a:custGeom>
          <a:avLst/>
          <a:gdLst/>
          <a:ahLst/>
          <a:cxnLst/>
          <a:rect l="0" t="0" r="0" b="0"/>
          <a:pathLst>
            <a:path>
              <a:moveTo>
                <a:pt x="0" y="0"/>
              </a:moveTo>
              <a:lnTo>
                <a:pt x="110000" y="0"/>
              </a:lnTo>
              <a:lnTo>
                <a:pt x="110000" y="236501"/>
              </a:lnTo>
              <a:lnTo>
                <a:pt x="220001" y="236501"/>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6BD34C8-4476-0849-8E73-FD62361461B9}">
      <dsp:nvSpPr>
        <dsp:cNvPr id="0" name=""/>
        <dsp:cNvSpPr/>
      </dsp:nvSpPr>
      <dsp:spPr>
        <a:xfrm>
          <a:off x="2496278" y="2770872"/>
          <a:ext cx="220001" cy="236501"/>
        </a:xfrm>
        <a:custGeom>
          <a:avLst/>
          <a:gdLst/>
          <a:ahLst/>
          <a:cxnLst/>
          <a:rect l="0" t="0" r="0" b="0"/>
          <a:pathLst>
            <a:path>
              <a:moveTo>
                <a:pt x="0" y="236501"/>
              </a:moveTo>
              <a:lnTo>
                <a:pt x="110000" y="236501"/>
              </a:lnTo>
              <a:lnTo>
                <a:pt x="110000" y="0"/>
              </a:lnTo>
              <a:lnTo>
                <a:pt x="220001" y="0"/>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318C644-F6F3-4C4E-B8D5-EB3E2BC6AED7}">
      <dsp:nvSpPr>
        <dsp:cNvPr id="0" name=""/>
        <dsp:cNvSpPr/>
      </dsp:nvSpPr>
      <dsp:spPr>
        <a:xfrm>
          <a:off x="1176270" y="2061368"/>
          <a:ext cx="220001" cy="946005"/>
        </a:xfrm>
        <a:custGeom>
          <a:avLst/>
          <a:gdLst/>
          <a:ahLst/>
          <a:cxnLst/>
          <a:rect l="0" t="0" r="0" b="0"/>
          <a:pathLst>
            <a:path>
              <a:moveTo>
                <a:pt x="0" y="0"/>
              </a:moveTo>
              <a:lnTo>
                <a:pt x="110000" y="0"/>
              </a:lnTo>
              <a:lnTo>
                <a:pt x="110000" y="946005"/>
              </a:lnTo>
              <a:lnTo>
                <a:pt x="220001" y="946005"/>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887A7AC-EDAC-2F46-93F7-155DA1233AD6}">
      <dsp:nvSpPr>
        <dsp:cNvPr id="0" name=""/>
        <dsp:cNvSpPr/>
      </dsp:nvSpPr>
      <dsp:spPr>
        <a:xfrm>
          <a:off x="1176270" y="2061368"/>
          <a:ext cx="220001" cy="473002"/>
        </a:xfrm>
        <a:custGeom>
          <a:avLst/>
          <a:gdLst/>
          <a:ahLst/>
          <a:cxnLst/>
          <a:rect l="0" t="0" r="0" b="0"/>
          <a:pathLst>
            <a:path>
              <a:moveTo>
                <a:pt x="0" y="0"/>
              </a:moveTo>
              <a:lnTo>
                <a:pt x="110000" y="0"/>
              </a:lnTo>
              <a:lnTo>
                <a:pt x="110000" y="473002"/>
              </a:lnTo>
              <a:lnTo>
                <a:pt x="220001" y="473002"/>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B76CE1D-1986-3C42-8928-376342AF5685}">
      <dsp:nvSpPr>
        <dsp:cNvPr id="0" name=""/>
        <dsp:cNvSpPr/>
      </dsp:nvSpPr>
      <dsp:spPr>
        <a:xfrm>
          <a:off x="1176270" y="2015648"/>
          <a:ext cx="220001" cy="91440"/>
        </a:xfrm>
        <a:custGeom>
          <a:avLst/>
          <a:gdLst/>
          <a:ahLst/>
          <a:cxnLst/>
          <a:rect l="0" t="0" r="0" b="0"/>
          <a:pathLst>
            <a:path>
              <a:moveTo>
                <a:pt x="0" y="45720"/>
              </a:moveTo>
              <a:lnTo>
                <a:pt x="220001" y="45720"/>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99F8DD7-7177-2E45-833E-F4DBA93E05F1}">
      <dsp:nvSpPr>
        <dsp:cNvPr id="0" name=""/>
        <dsp:cNvSpPr/>
      </dsp:nvSpPr>
      <dsp:spPr>
        <a:xfrm>
          <a:off x="1176270" y="1588365"/>
          <a:ext cx="220001" cy="473002"/>
        </a:xfrm>
        <a:custGeom>
          <a:avLst/>
          <a:gdLst/>
          <a:ahLst/>
          <a:cxnLst/>
          <a:rect l="0" t="0" r="0" b="0"/>
          <a:pathLst>
            <a:path>
              <a:moveTo>
                <a:pt x="0" y="473002"/>
              </a:moveTo>
              <a:lnTo>
                <a:pt x="110000" y="473002"/>
              </a:lnTo>
              <a:lnTo>
                <a:pt x="110000" y="0"/>
              </a:lnTo>
              <a:lnTo>
                <a:pt x="220001" y="0"/>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1A6EDE1-DEC0-964A-9560-6EF604D22C5C}">
      <dsp:nvSpPr>
        <dsp:cNvPr id="0" name=""/>
        <dsp:cNvSpPr/>
      </dsp:nvSpPr>
      <dsp:spPr>
        <a:xfrm>
          <a:off x="1176270" y="1115362"/>
          <a:ext cx="220001" cy="946005"/>
        </a:xfrm>
        <a:custGeom>
          <a:avLst/>
          <a:gdLst/>
          <a:ahLst/>
          <a:cxnLst/>
          <a:rect l="0" t="0" r="0" b="0"/>
          <a:pathLst>
            <a:path>
              <a:moveTo>
                <a:pt x="0" y="946005"/>
              </a:moveTo>
              <a:lnTo>
                <a:pt x="110000" y="946005"/>
              </a:lnTo>
              <a:lnTo>
                <a:pt x="110000" y="0"/>
              </a:lnTo>
              <a:lnTo>
                <a:pt x="220001" y="0"/>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025B89C-BFAC-1749-BA34-E9E89FC4E403}">
      <dsp:nvSpPr>
        <dsp:cNvPr id="0" name=""/>
        <dsp:cNvSpPr/>
      </dsp:nvSpPr>
      <dsp:spPr>
        <a:xfrm>
          <a:off x="1176270" y="642360"/>
          <a:ext cx="220001" cy="1419008"/>
        </a:xfrm>
        <a:custGeom>
          <a:avLst/>
          <a:gdLst/>
          <a:ahLst/>
          <a:cxnLst/>
          <a:rect l="0" t="0" r="0" b="0"/>
          <a:pathLst>
            <a:path>
              <a:moveTo>
                <a:pt x="0" y="1419008"/>
              </a:moveTo>
              <a:lnTo>
                <a:pt x="110000" y="1419008"/>
              </a:lnTo>
              <a:lnTo>
                <a:pt x="110000" y="0"/>
              </a:lnTo>
              <a:lnTo>
                <a:pt x="220001" y="0"/>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B48850-F88E-4446-A5F1-E491055A7AED}">
      <dsp:nvSpPr>
        <dsp:cNvPr id="0" name=""/>
        <dsp:cNvSpPr/>
      </dsp:nvSpPr>
      <dsp:spPr>
        <a:xfrm>
          <a:off x="1176270" y="169357"/>
          <a:ext cx="220001" cy="1892011"/>
        </a:xfrm>
        <a:custGeom>
          <a:avLst/>
          <a:gdLst/>
          <a:ahLst/>
          <a:cxnLst/>
          <a:rect l="0" t="0" r="0" b="0"/>
          <a:pathLst>
            <a:path>
              <a:moveTo>
                <a:pt x="0" y="1892011"/>
              </a:moveTo>
              <a:lnTo>
                <a:pt x="110000" y="1892011"/>
              </a:lnTo>
              <a:lnTo>
                <a:pt x="110000" y="0"/>
              </a:lnTo>
              <a:lnTo>
                <a:pt x="220001" y="0"/>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F435B8-AC54-A04A-8555-5BB0F3161BCB}">
      <dsp:nvSpPr>
        <dsp:cNvPr id="0" name=""/>
        <dsp:cNvSpPr/>
      </dsp:nvSpPr>
      <dsp:spPr>
        <a:xfrm>
          <a:off x="76263" y="1893617"/>
          <a:ext cx="1100006" cy="335501"/>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t>Pattern Form*</a:t>
          </a:r>
        </a:p>
      </dsp:txBody>
      <dsp:txXfrm>
        <a:off x="76263" y="1893617"/>
        <a:ext cx="1100006" cy="335501"/>
      </dsp:txXfrm>
    </dsp:sp>
    <dsp:sp modelId="{693F533D-A577-C443-9BDD-EC20C54CF7CF}">
      <dsp:nvSpPr>
        <dsp:cNvPr id="0" name=""/>
        <dsp:cNvSpPr/>
      </dsp:nvSpPr>
      <dsp:spPr>
        <a:xfrm>
          <a:off x="1396271" y="1606"/>
          <a:ext cx="1100006" cy="335501"/>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t>Pattern Name</a:t>
          </a:r>
        </a:p>
      </dsp:txBody>
      <dsp:txXfrm>
        <a:off x="1396271" y="1606"/>
        <a:ext cx="1100006" cy="335501"/>
      </dsp:txXfrm>
    </dsp:sp>
    <dsp:sp modelId="{04F0C9FB-1872-FD45-919D-CD509CC7ACD2}">
      <dsp:nvSpPr>
        <dsp:cNvPr id="0" name=""/>
        <dsp:cNvSpPr/>
      </dsp:nvSpPr>
      <dsp:spPr>
        <a:xfrm>
          <a:off x="1396271" y="474609"/>
          <a:ext cx="1100006" cy="335501"/>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t>Summary</a:t>
          </a:r>
        </a:p>
      </dsp:txBody>
      <dsp:txXfrm>
        <a:off x="1396271" y="474609"/>
        <a:ext cx="1100006" cy="335501"/>
      </dsp:txXfrm>
    </dsp:sp>
    <dsp:sp modelId="{6D78F15A-B86A-5D47-9B8E-74E5AABA5DEE}">
      <dsp:nvSpPr>
        <dsp:cNvPr id="0" name=""/>
        <dsp:cNvSpPr/>
      </dsp:nvSpPr>
      <dsp:spPr>
        <a:xfrm>
          <a:off x="1396271" y="947611"/>
          <a:ext cx="1100006" cy="335501"/>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t>Context</a:t>
          </a:r>
        </a:p>
      </dsp:txBody>
      <dsp:txXfrm>
        <a:off x="1396271" y="947611"/>
        <a:ext cx="1100006" cy="335501"/>
      </dsp:txXfrm>
    </dsp:sp>
    <dsp:sp modelId="{52359433-2B0C-624E-8316-58A884DF6397}">
      <dsp:nvSpPr>
        <dsp:cNvPr id="0" name=""/>
        <dsp:cNvSpPr/>
      </dsp:nvSpPr>
      <dsp:spPr>
        <a:xfrm>
          <a:off x="1396271" y="1420614"/>
          <a:ext cx="1100006" cy="335501"/>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t>Problem Statement</a:t>
          </a:r>
        </a:p>
      </dsp:txBody>
      <dsp:txXfrm>
        <a:off x="1396271" y="1420614"/>
        <a:ext cx="1100006" cy="335501"/>
      </dsp:txXfrm>
    </dsp:sp>
    <dsp:sp modelId="{F0A59A47-9F2A-4346-96DA-3115F6E50019}">
      <dsp:nvSpPr>
        <dsp:cNvPr id="0" name=""/>
        <dsp:cNvSpPr/>
      </dsp:nvSpPr>
      <dsp:spPr>
        <a:xfrm>
          <a:off x="1396271" y="1893617"/>
          <a:ext cx="1100006" cy="335501"/>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t>Forces</a:t>
          </a:r>
        </a:p>
      </dsp:txBody>
      <dsp:txXfrm>
        <a:off x="1396271" y="1893617"/>
        <a:ext cx="1100006" cy="335501"/>
      </dsp:txXfrm>
    </dsp:sp>
    <dsp:sp modelId="{B588A0C4-2648-064E-919C-A29258937C9D}">
      <dsp:nvSpPr>
        <dsp:cNvPr id="0" name=""/>
        <dsp:cNvSpPr/>
      </dsp:nvSpPr>
      <dsp:spPr>
        <a:xfrm>
          <a:off x="1396271" y="2366620"/>
          <a:ext cx="1100006" cy="335501"/>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t>Solution</a:t>
          </a:r>
        </a:p>
      </dsp:txBody>
      <dsp:txXfrm>
        <a:off x="1396271" y="2366620"/>
        <a:ext cx="1100006" cy="335501"/>
      </dsp:txXfrm>
    </dsp:sp>
    <dsp:sp modelId="{79CA8CBE-EF24-5548-9ED9-11684E28E9E9}">
      <dsp:nvSpPr>
        <dsp:cNvPr id="0" name=""/>
        <dsp:cNvSpPr/>
      </dsp:nvSpPr>
      <dsp:spPr>
        <a:xfrm>
          <a:off x="1396271" y="2839623"/>
          <a:ext cx="1100006" cy="335501"/>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t>Consequences</a:t>
          </a:r>
        </a:p>
      </dsp:txBody>
      <dsp:txXfrm>
        <a:off x="1396271" y="2839623"/>
        <a:ext cx="1100006" cy="335501"/>
      </dsp:txXfrm>
    </dsp:sp>
    <dsp:sp modelId="{F0490598-B026-E649-861F-438716F1D831}">
      <dsp:nvSpPr>
        <dsp:cNvPr id="0" name=""/>
        <dsp:cNvSpPr/>
      </dsp:nvSpPr>
      <dsp:spPr>
        <a:xfrm>
          <a:off x="2716279" y="2603121"/>
          <a:ext cx="1100006" cy="335501"/>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t>Benefits</a:t>
          </a:r>
        </a:p>
      </dsp:txBody>
      <dsp:txXfrm>
        <a:off x="2716279" y="2603121"/>
        <a:ext cx="1100006" cy="335501"/>
      </dsp:txXfrm>
    </dsp:sp>
    <dsp:sp modelId="{B13F2836-7C6D-BE43-9201-7E32A5B1A68B}">
      <dsp:nvSpPr>
        <dsp:cNvPr id="0" name=""/>
        <dsp:cNvSpPr/>
      </dsp:nvSpPr>
      <dsp:spPr>
        <a:xfrm>
          <a:off x="2716279" y="3076124"/>
          <a:ext cx="1100006" cy="335501"/>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t>Drawbacks</a:t>
          </a:r>
        </a:p>
      </dsp:txBody>
      <dsp:txXfrm>
        <a:off x="2716279" y="3076124"/>
        <a:ext cx="1100006" cy="335501"/>
      </dsp:txXfrm>
    </dsp:sp>
    <dsp:sp modelId="{79ED6464-2B13-C24F-836C-30FBBA91E97E}">
      <dsp:nvSpPr>
        <dsp:cNvPr id="0" name=""/>
        <dsp:cNvSpPr/>
      </dsp:nvSpPr>
      <dsp:spPr>
        <a:xfrm>
          <a:off x="1396271" y="3312625"/>
          <a:ext cx="1100006" cy="335501"/>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t>Related patterns</a:t>
          </a:r>
        </a:p>
      </dsp:txBody>
      <dsp:txXfrm>
        <a:off x="1396271" y="3312625"/>
        <a:ext cx="1100006" cy="335501"/>
      </dsp:txXfrm>
    </dsp:sp>
    <dsp:sp modelId="{70977390-730E-F949-940A-2D0B59380857}">
      <dsp:nvSpPr>
        <dsp:cNvPr id="0" name=""/>
        <dsp:cNvSpPr/>
      </dsp:nvSpPr>
      <dsp:spPr>
        <a:xfrm>
          <a:off x="1396271" y="3785628"/>
          <a:ext cx="1100006" cy="335501"/>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t>Real-world known uses</a:t>
          </a:r>
        </a:p>
      </dsp:txBody>
      <dsp:txXfrm>
        <a:off x="1396271" y="3785628"/>
        <a:ext cx="1100006" cy="33550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D8ABC0C-6D7F-824A-921B-618D8A3A8EB1}">
      <dsp:nvSpPr>
        <dsp:cNvPr id="0" name=""/>
        <dsp:cNvSpPr/>
      </dsp:nvSpPr>
      <dsp:spPr>
        <a:xfrm>
          <a:off x="1276182" y="1501"/>
          <a:ext cx="1122043" cy="561021"/>
        </a:xfrm>
        <a:prstGeom prst="roundRect">
          <a:avLst>
            <a:gd name="adj" fmla="val 1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Interaction with External World</a:t>
          </a:r>
        </a:p>
      </dsp:txBody>
      <dsp:txXfrm>
        <a:off x="1292614" y="17933"/>
        <a:ext cx="1089179" cy="528157"/>
      </dsp:txXfrm>
    </dsp:sp>
    <dsp:sp modelId="{3F514349-0FED-5C41-B786-EE797FD6A6ED}">
      <dsp:nvSpPr>
        <dsp:cNvPr id="0" name=""/>
        <dsp:cNvSpPr/>
      </dsp:nvSpPr>
      <dsp:spPr>
        <a:xfrm>
          <a:off x="1388386" y="562522"/>
          <a:ext cx="112204" cy="420766"/>
        </a:xfrm>
        <a:custGeom>
          <a:avLst/>
          <a:gdLst/>
          <a:ahLst/>
          <a:cxnLst/>
          <a:rect l="0" t="0" r="0" b="0"/>
          <a:pathLst>
            <a:path>
              <a:moveTo>
                <a:pt x="0" y="0"/>
              </a:moveTo>
              <a:lnTo>
                <a:pt x="0" y="420766"/>
              </a:lnTo>
              <a:lnTo>
                <a:pt x="112204" y="42076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0D6F72C5-DE37-E941-AD44-5970467C2A96}">
      <dsp:nvSpPr>
        <dsp:cNvPr id="0" name=""/>
        <dsp:cNvSpPr/>
      </dsp:nvSpPr>
      <dsp:spPr>
        <a:xfrm>
          <a:off x="1500590" y="702778"/>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Centralized Oracle</a:t>
          </a:r>
        </a:p>
      </dsp:txBody>
      <dsp:txXfrm>
        <a:off x="1517022" y="719210"/>
        <a:ext cx="864770" cy="528157"/>
      </dsp:txXfrm>
    </dsp:sp>
    <dsp:sp modelId="{D5ADA3D3-42F7-7E46-8A26-E9B8F121314A}">
      <dsp:nvSpPr>
        <dsp:cNvPr id="0" name=""/>
        <dsp:cNvSpPr/>
      </dsp:nvSpPr>
      <dsp:spPr>
        <a:xfrm>
          <a:off x="1388386" y="562522"/>
          <a:ext cx="112204" cy="1122043"/>
        </a:xfrm>
        <a:custGeom>
          <a:avLst/>
          <a:gdLst/>
          <a:ahLst/>
          <a:cxnLst/>
          <a:rect l="0" t="0" r="0" b="0"/>
          <a:pathLst>
            <a:path>
              <a:moveTo>
                <a:pt x="0" y="0"/>
              </a:moveTo>
              <a:lnTo>
                <a:pt x="0" y="1122043"/>
              </a:lnTo>
              <a:lnTo>
                <a:pt x="112204" y="1122043"/>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5829D355-4F9B-754E-8384-23AF734D3DC1}">
      <dsp:nvSpPr>
        <dsp:cNvPr id="0" name=""/>
        <dsp:cNvSpPr/>
      </dsp:nvSpPr>
      <dsp:spPr>
        <a:xfrm>
          <a:off x="1500590" y="1404055"/>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Decentralized Oracle</a:t>
          </a:r>
        </a:p>
      </dsp:txBody>
      <dsp:txXfrm>
        <a:off x="1517022" y="1420487"/>
        <a:ext cx="864770" cy="528157"/>
      </dsp:txXfrm>
    </dsp:sp>
    <dsp:sp modelId="{0D5AF32C-FEAC-B940-AEF9-113FD4C540C5}">
      <dsp:nvSpPr>
        <dsp:cNvPr id="0" name=""/>
        <dsp:cNvSpPr/>
      </dsp:nvSpPr>
      <dsp:spPr>
        <a:xfrm>
          <a:off x="1388386" y="562522"/>
          <a:ext cx="112204" cy="1823319"/>
        </a:xfrm>
        <a:custGeom>
          <a:avLst/>
          <a:gdLst/>
          <a:ahLst/>
          <a:cxnLst/>
          <a:rect l="0" t="0" r="0" b="0"/>
          <a:pathLst>
            <a:path>
              <a:moveTo>
                <a:pt x="0" y="0"/>
              </a:moveTo>
              <a:lnTo>
                <a:pt x="0" y="1823319"/>
              </a:lnTo>
              <a:lnTo>
                <a:pt x="112204" y="1823319"/>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710A9C0B-B81D-0947-8B02-F4620CE15477}">
      <dsp:nvSpPr>
        <dsp:cNvPr id="0" name=""/>
        <dsp:cNvSpPr/>
      </dsp:nvSpPr>
      <dsp:spPr>
        <a:xfrm>
          <a:off x="1500590" y="2105332"/>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Voting</a:t>
          </a:r>
        </a:p>
      </dsp:txBody>
      <dsp:txXfrm>
        <a:off x="1517022" y="2121764"/>
        <a:ext cx="864770" cy="528157"/>
      </dsp:txXfrm>
    </dsp:sp>
    <dsp:sp modelId="{59399A21-1752-9641-909F-1DF60D99EC93}">
      <dsp:nvSpPr>
        <dsp:cNvPr id="0" name=""/>
        <dsp:cNvSpPr/>
      </dsp:nvSpPr>
      <dsp:spPr>
        <a:xfrm>
          <a:off x="1388386" y="562522"/>
          <a:ext cx="112204" cy="2524596"/>
        </a:xfrm>
        <a:custGeom>
          <a:avLst/>
          <a:gdLst/>
          <a:ahLst/>
          <a:cxnLst/>
          <a:rect l="0" t="0" r="0" b="0"/>
          <a:pathLst>
            <a:path>
              <a:moveTo>
                <a:pt x="0" y="0"/>
              </a:moveTo>
              <a:lnTo>
                <a:pt x="0" y="2524596"/>
              </a:lnTo>
              <a:lnTo>
                <a:pt x="112204" y="252459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169F2B92-7101-9A4A-83D1-C2CF5AF28505}">
      <dsp:nvSpPr>
        <dsp:cNvPr id="0" name=""/>
        <dsp:cNvSpPr/>
      </dsp:nvSpPr>
      <dsp:spPr>
        <a:xfrm>
          <a:off x="1500590" y="2806609"/>
          <a:ext cx="897634" cy="561021"/>
        </a:xfrm>
        <a:prstGeom prst="roundRect">
          <a:avLst>
            <a:gd name="adj" fmla="val 10000"/>
          </a:avLst>
        </a:prstGeom>
        <a:solidFill>
          <a:schemeClr val="tx1">
            <a:alpha val="9000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chemeClr val="bg1"/>
              </a:solidFill>
            </a:rPr>
            <a:t>Legal and Smart Contract Pair</a:t>
          </a:r>
        </a:p>
      </dsp:txBody>
      <dsp:txXfrm>
        <a:off x="1517022" y="2823041"/>
        <a:ext cx="864770" cy="528157"/>
      </dsp:txXfrm>
    </dsp:sp>
    <dsp:sp modelId="{C1B131E3-501B-D54B-87C3-86BF06BB35E8}">
      <dsp:nvSpPr>
        <dsp:cNvPr id="0" name=""/>
        <dsp:cNvSpPr/>
      </dsp:nvSpPr>
      <dsp:spPr>
        <a:xfrm>
          <a:off x="1388386" y="562522"/>
          <a:ext cx="112204" cy="3225873"/>
        </a:xfrm>
        <a:custGeom>
          <a:avLst/>
          <a:gdLst/>
          <a:ahLst/>
          <a:cxnLst/>
          <a:rect l="0" t="0" r="0" b="0"/>
          <a:pathLst>
            <a:path>
              <a:moveTo>
                <a:pt x="0" y="0"/>
              </a:moveTo>
              <a:lnTo>
                <a:pt x="0" y="3225873"/>
              </a:lnTo>
              <a:lnTo>
                <a:pt x="112204" y="3225873"/>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4A6CB5A3-1BA1-7E4B-8C56-627C34B6ECD3}">
      <dsp:nvSpPr>
        <dsp:cNvPr id="0" name=""/>
        <dsp:cNvSpPr/>
      </dsp:nvSpPr>
      <dsp:spPr>
        <a:xfrm>
          <a:off x="1500590" y="3507886"/>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Reverse Oracle</a:t>
          </a:r>
        </a:p>
      </dsp:txBody>
      <dsp:txXfrm>
        <a:off x="1517022" y="3524318"/>
        <a:ext cx="864770" cy="528157"/>
      </dsp:txXfrm>
    </dsp:sp>
    <dsp:sp modelId="{587C74AE-3394-DC49-8CB1-76A0BCD058A4}">
      <dsp:nvSpPr>
        <dsp:cNvPr id="0" name=""/>
        <dsp:cNvSpPr/>
      </dsp:nvSpPr>
      <dsp:spPr>
        <a:xfrm>
          <a:off x="2678736" y="1501"/>
          <a:ext cx="1122043" cy="561021"/>
        </a:xfrm>
        <a:prstGeom prst="roundRect">
          <a:avLst>
            <a:gd name="adj" fmla="val 1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Data Management</a:t>
          </a:r>
        </a:p>
      </dsp:txBody>
      <dsp:txXfrm>
        <a:off x="2695168" y="17933"/>
        <a:ext cx="1089179" cy="528157"/>
      </dsp:txXfrm>
    </dsp:sp>
    <dsp:sp modelId="{BA439008-8DC7-6F4F-BB51-CC1D048D6E8D}">
      <dsp:nvSpPr>
        <dsp:cNvPr id="0" name=""/>
        <dsp:cNvSpPr/>
      </dsp:nvSpPr>
      <dsp:spPr>
        <a:xfrm>
          <a:off x="2790940" y="562522"/>
          <a:ext cx="112204" cy="420766"/>
        </a:xfrm>
        <a:custGeom>
          <a:avLst/>
          <a:gdLst/>
          <a:ahLst/>
          <a:cxnLst/>
          <a:rect l="0" t="0" r="0" b="0"/>
          <a:pathLst>
            <a:path>
              <a:moveTo>
                <a:pt x="0" y="0"/>
              </a:moveTo>
              <a:lnTo>
                <a:pt x="0" y="420766"/>
              </a:lnTo>
              <a:lnTo>
                <a:pt x="112204" y="42076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EC7CC600-EAD4-7449-B71C-71141DC3A933}">
      <dsp:nvSpPr>
        <dsp:cNvPr id="0" name=""/>
        <dsp:cNvSpPr/>
      </dsp:nvSpPr>
      <dsp:spPr>
        <a:xfrm>
          <a:off x="2903144" y="702778"/>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Off-chain Data Storage</a:t>
          </a:r>
        </a:p>
      </dsp:txBody>
      <dsp:txXfrm>
        <a:off x="2919576" y="719210"/>
        <a:ext cx="864770" cy="528157"/>
      </dsp:txXfrm>
    </dsp:sp>
    <dsp:sp modelId="{E10A6EA2-0E21-A04F-8004-BFC9A0538066}">
      <dsp:nvSpPr>
        <dsp:cNvPr id="0" name=""/>
        <dsp:cNvSpPr/>
      </dsp:nvSpPr>
      <dsp:spPr>
        <a:xfrm>
          <a:off x="2790940" y="562522"/>
          <a:ext cx="112204" cy="1122043"/>
        </a:xfrm>
        <a:custGeom>
          <a:avLst/>
          <a:gdLst/>
          <a:ahLst/>
          <a:cxnLst/>
          <a:rect l="0" t="0" r="0" b="0"/>
          <a:pathLst>
            <a:path>
              <a:moveTo>
                <a:pt x="0" y="0"/>
              </a:moveTo>
              <a:lnTo>
                <a:pt x="0" y="1122043"/>
              </a:lnTo>
              <a:lnTo>
                <a:pt x="112204" y="1122043"/>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0802B708-C3AC-C64A-B8CF-25D102BF4DB4}">
      <dsp:nvSpPr>
        <dsp:cNvPr id="0" name=""/>
        <dsp:cNvSpPr/>
      </dsp:nvSpPr>
      <dsp:spPr>
        <a:xfrm>
          <a:off x="2903144" y="1404055"/>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State Channel</a:t>
          </a:r>
        </a:p>
      </dsp:txBody>
      <dsp:txXfrm>
        <a:off x="2919576" y="1420487"/>
        <a:ext cx="864770" cy="528157"/>
      </dsp:txXfrm>
    </dsp:sp>
    <dsp:sp modelId="{BF408421-FF0A-F54E-B93E-57AA7AC549C4}">
      <dsp:nvSpPr>
        <dsp:cNvPr id="0" name=""/>
        <dsp:cNvSpPr/>
      </dsp:nvSpPr>
      <dsp:spPr>
        <a:xfrm>
          <a:off x="2790940" y="562522"/>
          <a:ext cx="112204" cy="1823319"/>
        </a:xfrm>
        <a:custGeom>
          <a:avLst/>
          <a:gdLst/>
          <a:ahLst/>
          <a:cxnLst/>
          <a:rect l="0" t="0" r="0" b="0"/>
          <a:pathLst>
            <a:path>
              <a:moveTo>
                <a:pt x="0" y="0"/>
              </a:moveTo>
              <a:lnTo>
                <a:pt x="0" y="1823319"/>
              </a:lnTo>
              <a:lnTo>
                <a:pt x="112204" y="1823319"/>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0F6014B9-FF15-0546-AA04-F591028B596A}">
      <dsp:nvSpPr>
        <dsp:cNvPr id="0" name=""/>
        <dsp:cNvSpPr/>
      </dsp:nvSpPr>
      <dsp:spPr>
        <a:xfrm>
          <a:off x="2903144" y="2105332"/>
          <a:ext cx="897634" cy="561021"/>
        </a:xfrm>
        <a:prstGeom prst="roundRect">
          <a:avLst>
            <a:gd name="adj" fmla="val 10000"/>
          </a:avLst>
        </a:prstGeom>
        <a:solidFill>
          <a:srgbClr val="000000">
            <a:alpha val="90000"/>
          </a:srgbClr>
        </a:solidFill>
        <a:ln w="6350" cap="flat" cmpd="sng" algn="ctr">
          <a:solidFill>
            <a:srgbClr val="C50E1F">
              <a:hueOff val="0"/>
              <a:satOff val="0"/>
              <a:lumOff val="0"/>
              <a:alphaOff val="0"/>
            </a:srgb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rgbClr val="FFFFFF"/>
              </a:solidFill>
              <a:latin typeface="Calibri" panose="020F0502020204030204"/>
              <a:ea typeface="+mn-ea"/>
              <a:cs typeface="+mn-cs"/>
            </a:rPr>
            <a:t>Encrypting On-chain Data</a:t>
          </a:r>
        </a:p>
      </dsp:txBody>
      <dsp:txXfrm>
        <a:off x="2919576" y="2121764"/>
        <a:ext cx="864770" cy="528157"/>
      </dsp:txXfrm>
    </dsp:sp>
    <dsp:sp modelId="{BEB443A0-BDD9-EC4C-9347-4016B3AFF79C}">
      <dsp:nvSpPr>
        <dsp:cNvPr id="0" name=""/>
        <dsp:cNvSpPr/>
      </dsp:nvSpPr>
      <dsp:spPr>
        <a:xfrm>
          <a:off x="2790940" y="562522"/>
          <a:ext cx="112204" cy="2524596"/>
        </a:xfrm>
        <a:custGeom>
          <a:avLst/>
          <a:gdLst/>
          <a:ahLst/>
          <a:cxnLst/>
          <a:rect l="0" t="0" r="0" b="0"/>
          <a:pathLst>
            <a:path>
              <a:moveTo>
                <a:pt x="0" y="0"/>
              </a:moveTo>
              <a:lnTo>
                <a:pt x="0" y="2524596"/>
              </a:lnTo>
              <a:lnTo>
                <a:pt x="112204" y="252459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BEF1671F-3DF5-494B-AE25-2434EBDA1A68}">
      <dsp:nvSpPr>
        <dsp:cNvPr id="0" name=""/>
        <dsp:cNvSpPr/>
      </dsp:nvSpPr>
      <dsp:spPr>
        <a:xfrm>
          <a:off x="2903144" y="2806609"/>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err="1"/>
            <a:t>Tokenisation</a:t>
          </a:r>
          <a:endParaRPr lang="en-US" sz="1100" b="1" kern="1200" dirty="0"/>
        </a:p>
      </dsp:txBody>
      <dsp:txXfrm>
        <a:off x="2919576" y="2823041"/>
        <a:ext cx="864770" cy="528157"/>
      </dsp:txXfrm>
    </dsp:sp>
    <dsp:sp modelId="{7634BA55-D044-B248-8F77-5614E76D7120}">
      <dsp:nvSpPr>
        <dsp:cNvPr id="0" name=""/>
        <dsp:cNvSpPr/>
      </dsp:nvSpPr>
      <dsp:spPr>
        <a:xfrm>
          <a:off x="4081289" y="1501"/>
          <a:ext cx="1122043" cy="561021"/>
        </a:xfrm>
        <a:prstGeom prst="roundRect">
          <a:avLst>
            <a:gd name="adj" fmla="val 1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Security</a:t>
          </a:r>
        </a:p>
      </dsp:txBody>
      <dsp:txXfrm>
        <a:off x="4097721" y="17933"/>
        <a:ext cx="1089179" cy="528157"/>
      </dsp:txXfrm>
    </dsp:sp>
    <dsp:sp modelId="{1AE04E00-72C6-3B42-81CF-52ED553CDC38}">
      <dsp:nvSpPr>
        <dsp:cNvPr id="0" name=""/>
        <dsp:cNvSpPr/>
      </dsp:nvSpPr>
      <dsp:spPr>
        <a:xfrm>
          <a:off x="4193494" y="562522"/>
          <a:ext cx="112204" cy="420766"/>
        </a:xfrm>
        <a:custGeom>
          <a:avLst/>
          <a:gdLst/>
          <a:ahLst/>
          <a:cxnLst/>
          <a:rect l="0" t="0" r="0" b="0"/>
          <a:pathLst>
            <a:path>
              <a:moveTo>
                <a:pt x="0" y="0"/>
              </a:moveTo>
              <a:lnTo>
                <a:pt x="0" y="420766"/>
              </a:lnTo>
              <a:lnTo>
                <a:pt x="112204" y="42076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357FEADB-5D8F-E343-88F9-3F0C634B3357}">
      <dsp:nvSpPr>
        <dsp:cNvPr id="0" name=""/>
        <dsp:cNvSpPr/>
      </dsp:nvSpPr>
      <dsp:spPr>
        <a:xfrm>
          <a:off x="4305698" y="702778"/>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Dynamic Authorization</a:t>
          </a:r>
        </a:p>
      </dsp:txBody>
      <dsp:txXfrm>
        <a:off x="4322130" y="719210"/>
        <a:ext cx="864770" cy="528157"/>
      </dsp:txXfrm>
    </dsp:sp>
    <dsp:sp modelId="{616DEDF7-72CD-4B41-826B-4210486F480B}">
      <dsp:nvSpPr>
        <dsp:cNvPr id="0" name=""/>
        <dsp:cNvSpPr/>
      </dsp:nvSpPr>
      <dsp:spPr>
        <a:xfrm>
          <a:off x="4193494" y="562522"/>
          <a:ext cx="112204" cy="1122043"/>
        </a:xfrm>
        <a:custGeom>
          <a:avLst/>
          <a:gdLst/>
          <a:ahLst/>
          <a:cxnLst/>
          <a:rect l="0" t="0" r="0" b="0"/>
          <a:pathLst>
            <a:path>
              <a:moveTo>
                <a:pt x="0" y="0"/>
              </a:moveTo>
              <a:lnTo>
                <a:pt x="0" y="1122043"/>
              </a:lnTo>
              <a:lnTo>
                <a:pt x="112204" y="1122043"/>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CE2BE487-796D-8A42-81EB-73B1FF7FA130}">
      <dsp:nvSpPr>
        <dsp:cNvPr id="0" name=""/>
        <dsp:cNvSpPr/>
      </dsp:nvSpPr>
      <dsp:spPr>
        <a:xfrm>
          <a:off x="4305698" y="1404055"/>
          <a:ext cx="897634" cy="561021"/>
        </a:xfrm>
        <a:prstGeom prst="roundRect">
          <a:avLst>
            <a:gd name="adj" fmla="val 10000"/>
          </a:avLst>
        </a:prstGeom>
        <a:solidFill>
          <a:srgbClr val="000000">
            <a:alpha val="90000"/>
          </a:srgbClr>
        </a:solidFill>
        <a:ln w="6350" cap="flat" cmpd="sng" algn="ctr">
          <a:solidFill>
            <a:srgbClr val="C50E1F">
              <a:hueOff val="0"/>
              <a:satOff val="0"/>
              <a:lumOff val="0"/>
              <a:alphaOff val="0"/>
            </a:srgb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rgbClr val="FFFFFF"/>
              </a:solidFill>
              <a:latin typeface="Calibri" panose="020F0502020204030204"/>
              <a:ea typeface="+mn-ea"/>
              <a:cs typeface="+mn-cs"/>
            </a:rPr>
            <a:t>Multiple Authorization</a:t>
          </a:r>
        </a:p>
      </dsp:txBody>
      <dsp:txXfrm>
        <a:off x="4322130" y="1420487"/>
        <a:ext cx="864770" cy="528157"/>
      </dsp:txXfrm>
    </dsp:sp>
    <dsp:sp modelId="{161E2220-9CCC-FC4A-8FB2-63C6E682F6DF}">
      <dsp:nvSpPr>
        <dsp:cNvPr id="0" name=""/>
        <dsp:cNvSpPr/>
      </dsp:nvSpPr>
      <dsp:spPr>
        <a:xfrm>
          <a:off x="4193494" y="562522"/>
          <a:ext cx="112204" cy="1823319"/>
        </a:xfrm>
        <a:custGeom>
          <a:avLst/>
          <a:gdLst/>
          <a:ahLst/>
          <a:cxnLst/>
          <a:rect l="0" t="0" r="0" b="0"/>
          <a:pathLst>
            <a:path>
              <a:moveTo>
                <a:pt x="0" y="0"/>
              </a:moveTo>
              <a:lnTo>
                <a:pt x="0" y="1823319"/>
              </a:lnTo>
              <a:lnTo>
                <a:pt x="112204" y="1823319"/>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4E24FB6B-4ED1-9B47-AF93-F82344D22B18}">
      <dsp:nvSpPr>
        <dsp:cNvPr id="0" name=""/>
        <dsp:cNvSpPr/>
      </dsp:nvSpPr>
      <dsp:spPr>
        <a:xfrm>
          <a:off x="4305698" y="2105332"/>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X-confirmation</a:t>
          </a:r>
        </a:p>
      </dsp:txBody>
      <dsp:txXfrm>
        <a:off x="4322130" y="2121764"/>
        <a:ext cx="864770" cy="528157"/>
      </dsp:txXfrm>
    </dsp:sp>
    <dsp:sp modelId="{62372CAD-8CEA-5249-B725-06E12ECDABED}">
      <dsp:nvSpPr>
        <dsp:cNvPr id="0" name=""/>
        <dsp:cNvSpPr/>
      </dsp:nvSpPr>
      <dsp:spPr>
        <a:xfrm>
          <a:off x="4193494" y="562522"/>
          <a:ext cx="112204" cy="2524596"/>
        </a:xfrm>
        <a:custGeom>
          <a:avLst/>
          <a:gdLst/>
          <a:ahLst/>
          <a:cxnLst/>
          <a:rect l="0" t="0" r="0" b="0"/>
          <a:pathLst>
            <a:path>
              <a:moveTo>
                <a:pt x="0" y="0"/>
              </a:moveTo>
              <a:lnTo>
                <a:pt x="0" y="2524596"/>
              </a:lnTo>
              <a:lnTo>
                <a:pt x="112204" y="252459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B14971FA-8479-2647-910A-061B76333F31}">
      <dsp:nvSpPr>
        <dsp:cNvPr id="0" name=""/>
        <dsp:cNvSpPr/>
      </dsp:nvSpPr>
      <dsp:spPr>
        <a:xfrm>
          <a:off x="4305698" y="2806609"/>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Security Deposit</a:t>
          </a:r>
        </a:p>
      </dsp:txBody>
      <dsp:txXfrm>
        <a:off x="4322130" y="2823041"/>
        <a:ext cx="864770" cy="528157"/>
      </dsp:txXfrm>
    </dsp:sp>
    <dsp:sp modelId="{2FA8F23F-35CD-C54A-8783-629A03772AEC}">
      <dsp:nvSpPr>
        <dsp:cNvPr id="0" name=""/>
        <dsp:cNvSpPr/>
      </dsp:nvSpPr>
      <dsp:spPr>
        <a:xfrm>
          <a:off x="5483843" y="1501"/>
          <a:ext cx="1122043" cy="561021"/>
        </a:xfrm>
        <a:prstGeom prst="roundRect">
          <a:avLst>
            <a:gd name="adj" fmla="val 1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Contract Structural Patterns</a:t>
          </a:r>
        </a:p>
      </dsp:txBody>
      <dsp:txXfrm>
        <a:off x="5500275" y="17933"/>
        <a:ext cx="1089179" cy="528157"/>
      </dsp:txXfrm>
    </dsp:sp>
    <dsp:sp modelId="{9E84B493-25F5-DF4D-8ECA-FEBA7BDB38A6}">
      <dsp:nvSpPr>
        <dsp:cNvPr id="0" name=""/>
        <dsp:cNvSpPr/>
      </dsp:nvSpPr>
      <dsp:spPr>
        <a:xfrm>
          <a:off x="5596048" y="562522"/>
          <a:ext cx="112204" cy="420766"/>
        </a:xfrm>
        <a:custGeom>
          <a:avLst/>
          <a:gdLst/>
          <a:ahLst/>
          <a:cxnLst/>
          <a:rect l="0" t="0" r="0" b="0"/>
          <a:pathLst>
            <a:path>
              <a:moveTo>
                <a:pt x="0" y="0"/>
              </a:moveTo>
              <a:lnTo>
                <a:pt x="0" y="420766"/>
              </a:lnTo>
              <a:lnTo>
                <a:pt x="112204" y="42076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6383FD56-CDCD-2945-B041-9B16034E0889}">
      <dsp:nvSpPr>
        <dsp:cNvPr id="0" name=""/>
        <dsp:cNvSpPr/>
      </dsp:nvSpPr>
      <dsp:spPr>
        <a:xfrm>
          <a:off x="5708252" y="702778"/>
          <a:ext cx="897634" cy="561021"/>
        </a:xfrm>
        <a:prstGeom prst="roundRect">
          <a:avLst>
            <a:gd name="adj" fmla="val 10000"/>
          </a:avLst>
        </a:prstGeom>
        <a:solidFill>
          <a:srgbClr val="000000">
            <a:alpha val="90000"/>
          </a:srgbClr>
        </a:solidFill>
        <a:ln w="6350" cap="flat" cmpd="sng" algn="ctr">
          <a:solidFill>
            <a:srgbClr val="C50E1F">
              <a:hueOff val="0"/>
              <a:satOff val="0"/>
              <a:lumOff val="0"/>
              <a:alphaOff val="0"/>
            </a:srgb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rgbClr val="FFFFFF"/>
              </a:solidFill>
              <a:latin typeface="Calibri" panose="020F0502020204030204"/>
              <a:ea typeface="+mn-ea"/>
              <a:cs typeface="+mn-cs"/>
            </a:rPr>
            <a:t>Contract Registry</a:t>
          </a:r>
        </a:p>
      </dsp:txBody>
      <dsp:txXfrm>
        <a:off x="5724684" y="719210"/>
        <a:ext cx="864770" cy="528157"/>
      </dsp:txXfrm>
    </dsp:sp>
    <dsp:sp modelId="{3FB2E1DB-7F77-A940-A44D-A2EBF02F6AA8}">
      <dsp:nvSpPr>
        <dsp:cNvPr id="0" name=""/>
        <dsp:cNvSpPr/>
      </dsp:nvSpPr>
      <dsp:spPr>
        <a:xfrm>
          <a:off x="5596048" y="562522"/>
          <a:ext cx="112204" cy="1122043"/>
        </a:xfrm>
        <a:custGeom>
          <a:avLst/>
          <a:gdLst/>
          <a:ahLst/>
          <a:cxnLst/>
          <a:rect l="0" t="0" r="0" b="0"/>
          <a:pathLst>
            <a:path>
              <a:moveTo>
                <a:pt x="0" y="0"/>
              </a:moveTo>
              <a:lnTo>
                <a:pt x="0" y="1122043"/>
              </a:lnTo>
              <a:lnTo>
                <a:pt x="112204" y="1122043"/>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84AF0035-BFE5-2044-A7EB-39D21B6B4C23}">
      <dsp:nvSpPr>
        <dsp:cNvPr id="0" name=""/>
        <dsp:cNvSpPr/>
      </dsp:nvSpPr>
      <dsp:spPr>
        <a:xfrm>
          <a:off x="5708252" y="1404055"/>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Embedded Permission</a:t>
          </a:r>
        </a:p>
      </dsp:txBody>
      <dsp:txXfrm>
        <a:off x="5724684" y="1420487"/>
        <a:ext cx="864770" cy="528157"/>
      </dsp:txXfrm>
    </dsp:sp>
    <dsp:sp modelId="{6544270F-F7B6-E049-B33D-1DD08D2C8DA4}">
      <dsp:nvSpPr>
        <dsp:cNvPr id="0" name=""/>
        <dsp:cNvSpPr/>
      </dsp:nvSpPr>
      <dsp:spPr>
        <a:xfrm>
          <a:off x="5596048" y="562522"/>
          <a:ext cx="112204" cy="1823319"/>
        </a:xfrm>
        <a:custGeom>
          <a:avLst/>
          <a:gdLst/>
          <a:ahLst/>
          <a:cxnLst/>
          <a:rect l="0" t="0" r="0" b="0"/>
          <a:pathLst>
            <a:path>
              <a:moveTo>
                <a:pt x="0" y="0"/>
              </a:moveTo>
              <a:lnTo>
                <a:pt x="0" y="1823319"/>
              </a:lnTo>
              <a:lnTo>
                <a:pt x="112204" y="1823319"/>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CD3B654E-F569-E741-95FD-BAEB3D862512}">
      <dsp:nvSpPr>
        <dsp:cNvPr id="0" name=""/>
        <dsp:cNvSpPr/>
      </dsp:nvSpPr>
      <dsp:spPr>
        <a:xfrm>
          <a:off x="5708252" y="2105332"/>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Data Contract</a:t>
          </a:r>
        </a:p>
      </dsp:txBody>
      <dsp:txXfrm>
        <a:off x="5724684" y="2121764"/>
        <a:ext cx="864770" cy="528157"/>
      </dsp:txXfrm>
    </dsp:sp>
    <dsp:sp modelId="{A766C9EF-D2E9-D042-A8CB-171425FDB28D}">
      <dsp:nvSpPr>
        <dsp:cNvPr id="0" name=""/>
        <dsp:cNvSpPr/>
      </dsp:nvSpPr>
      <dsp:spPr>
        <a:xfrm>
          <a:off x="5596048" y="562522"/>
          <a:ext cx="112204" cy="2524596"/>
        </a:xfrm>
        <a:custGeom>
          <a:avLst/>
          <a:gdLst/>
          <a:ahLst/>
          <a:cxnLst/>
          <a:rect l="0" t="0" r="0" b="0"/>
          <a:pathLst>
            <a:path>
              <a:moveTo>
                <a:pt x="0" y="0"/>
              </a:moveTo>
              <a:lnTo>
                <a:pt x="0" y="2524596"/>
              </a:lnTo>
              <a:lnTo>
                <a:pt x="112204" y="252459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E6601567-ED76-D74F-A58C-75189A8C23BF}">
      <dsp:nvSpPr>
        <dsp:cNvPr id="0" name=""/>
        <dsp:cNvSpPr/>
      </dsp:nvSpPr>
      <dsp:spPr>
        <a:xfrm>
          <a:off x="5708252" y="2806609"/>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Factory Contract</a:t>
          </a:r>
        </a:p>
      </dsp:txBody>
      <dsp:txXfrm>
        <a:off x="5724684" y="2823041"/>
        <a:ext cx="864770" cy="528157"/>
      </dsp:txXfrm>
    </dsp:sp>
    <dsp:sp modelId="{4775D44D-645E-E249-ADDE-D82E8C608398}">
      <dsp:nvSpPr>
        <dsp:cNvPr id="0" name=""/>
        <dsp:cNvSpPr/>
      </dsp:nvSpPr>
      <dsp:spPr>
        <a:xfrm>
          <a:off x="5596048" y="562522"/>
          <a:ext cx="112204" cy="3225873"/>
        </a:xfrm>
        <a:custGeom>
          <a:avLst/>
          <a:gdLst/>
          <a:ahLst/>
          <a:cxnLst/>
          <a:rect l="0" t="0" r="0" b="0"/>
          <a:pathLst>
            <a:path>
              <a:moveTo>
                <a:pt x="0" y="0"/>
              </a:moveTo>
              <a:lnTo>
                <a:pt x="0" y="3225873"/>
              </a:lnTo>
              <a:lnTo>
                <a:pt x="112204" y="3225873"/>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051EB7AD-8953-834A-8746-11F852A289E6}">
      <dsp:nvSpPr>
        <dsp:cNvPr id="0" name=""/>
        <dsp:cNvSpPr/>
      </dsp:nvSpPr>
      <dsp:spPr>
        <a:xfrm>
          <a:off x="5708252" y="3507886"/>
          <a:ext cx="897634" cy="561021"/>
        </a:xfrm>
        <a:prstGeom prst="roundRect">
          <a:avLst>
            <a:gd name="adj" fmla="val 10000"/>
          </a:avLst>
        </a:prstGeom>
        <a:solidFill>
          <a:srgbClr val="000000">
            <a:alpha val="90000"/>
          </a:srgbClr>
        </a:solidFill>
        <a:ln w="6350" cap="flat" cmpd="sng" algn="ctr">
          <a:solidFill>
            <a:srgbClr val="C50E1F">
              <a:hueOff val="0"/>
              <a:satOff val="0"/>
              <a:lumOff val="0"/>
              <a:alphaOff val="0"/>
            </a:srgb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rgbClr val="FFFFFF"/>
              </a:solidFill>
              <a:latin typeface="Calibri" panose="020F0502020204030204"/>
              <a:ea typeface="+mn-ea"/>
              <a:cs typeface="+mn-cs"/>
            </a:rPr>
            <a:t>Incentive Execution</a:t>
          </a:r>
        </a:p>
      </dsp:txBody>
      <dsp:txXfrm>
        <a:off x="5724684" y="3524318"/>
        <a:ext cx="864770" cy="528157"/>
      </dsp:txXfrm>
    </dsp:sp>
    <dsp:sp modelId="{F22BDB45-6DFC-C945-B9D7-19948CF5FF0A}">
      <dsp:nvSpPr>
        <dsp:cNvPr id="0" name=""/>
        <dsp:cNvSpPr/>
      </dsp:nvSpPr>
      <dsp:spPr>
        <a:xfrm>
          <a:off x="6886397" y="1501"/>
          <a:ext cx="1122043" cy="561021"/>
        </a:xfrm>
        <a:prstGeom prst="roundRect">
          <a:avLst>
            <a:gd name="adj" fmla="val 1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Deployment</a:t>
          </a:r>
        </a:p>
      </dsp:txBody>
      <dsp:txXfrm>
        <a:off x="6902829" y="17933"/>
        <a:ext cx="1089179" cy="528157"/>
      </dsp:txXfrm>
    </dsp:sp>
    <dsp:sp modelId="{9BB28569-8A99-3547-82B9-E7AE7B791E8E}">
      <dsp:nvSpPr>
        <dsp:cNvPr id="0" name=""/>
        <dsp:cNvSpPr/>
      </dsp:nvSpPr>
      <dsp:spPr>
        <a:xfrm>
          <a:off x="6998601" y="562522"/>
          <a:ext cx="112204" cy="420766"/>
        </a:xfrm>
        <a:custGeom>
          <a:avLst/>
          <a:gdLst/>
          <a:ahLst/>
          <a:cxnLst/>
          <a:rect l="0" t="0" r="0" b="0"/>
          <a:pathLst>
            <a:path>
              <a:moveTo>
                <a:pt x="0" y="0"/>
              </a:moveTo>
              <a:lnTo>
                <a:pt x="0" y="420766"/>
              </a:lnTo>
              <a:lnTo>
                <a:pt x="112204" y="42076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D6C47007-297A-9149-B858-94EACBFC3B98}">
      <dsp:nvSpPr>
        <dsp:cNvPr id="0" name=""/>
        <dsp:cNvSpPr/>
      </dsp:nvSpPr>
      <dsp:spPr>
        <a:xfrm>
          <a:off x="7110806" y="702778"/>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Semi-</a:t>
          </a:r>
          <a:r>
            <a:rPr lang="en-US" sz="1100" b="1" kern="1200" dirty="0" err="1"/>
            <a:t>dapp</a:t>
          </a:r>
          <a:endParaRPr lang="en-US" sz="1100" b="1" kern="1200" dirty="0"/>
        </a:p>
      </dsp:txBody>
      <dsp:txXfrm>
        <a:off x="7127238" y="719210"/>
        <a:ext cx="864770" cy="528157"/>
      </dsp:txXfrm>
    </dsp:sp>
    <dsp:sp modelId="{57251F56-0827-F642-9213-6BAF8C24320C}">
      <dsp:nvSpPr>
        <dsp:cNvPr id="0" name=""/>
        <dsp:cNvSpPr/>
      </dsp:nvSpPr>
      <dsp:spPr>
        <a:xfrm>
          <a:off x="6998601" y="562522"/>
          <a:ext cx="112204" cy="1122043"/>
        </a:xfrm>
        <a:custGeom>
          <a:avLst/>
          <a:gdLst/>
          <a:ahLst/>
          <a:cxnLst/>
          <a:rect l="0" t="0" r="0" b="0"/>
          <a:pathLst>
            <a:path>
              <a:moveTo>
                <a:pt x="0" y="0"/>
              </a:moveTo>
              <a:lnTo>
                <a:pt x="0" y="1122043"/>
              </a:lnTo>
              <a:lnTo>
                <a:pt x="112204" y="1122043"/>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18EDD8C2-B42A-184F-9F26-A856FFE0B12C}">
      <dsp:nvSpPr>
        <dsp:cNvPr id="0" name=""/>
        <dsp:cNvSpPr/>
      </dsp:nvSpPr>
      <dsp:spPr>
        <a:xfrm>
          <a:off x="7110806" y="1404055"/>
          <a:ext cx="897634" cy="561021"/>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err="1"/>
            <a:t>dapp</a:t>
          </a:r>
          <a:endParaRPr lang="en-US" sz="1100" b="1" kern="1200" dirty="0"/>
        </a:p>
      </dsp:txBody>
      <dsp:txXfrm>
        <a:off x="7127238" y="1420487"/>
        <a:ext cx="864770" cy="528157"/>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8427" cy="513508"/>
          </a:xfrm>
          <a:prstGeom prst="rect">
            <a:avLst/>
          </a:prstGeom>
        </p:spPr>
        <p:txBody>
          <a:bodyPr vert="horz" lIns="99075" tIns="49538" rIns="99075" bIns="49538" rtlCol="0"/>
          <a:lstStyle>
            <a:lvl1pPr algn="l">
              <a:defRPr sz="1300"/>
            </a:lvl1pPr>
          </a:lstStyle>
          <a:p>
            <a:endParaRPr lang="en-AU" dirty="0"/>
          </a:p>
        </p:txBody>
      </p:sp>
      <p:sp>
        <p:nvSpPr>
          <p:cNvPr id="3" name="Date Placeholder 2"/>
          <p:cNvSpPr>
            <a:spLocks noGrp="1"/>
          </p:cNvSpPr>
          <p:nvPr>
            <p:ph type="dt" sz="quarter" idx="1"/>
          </p:nvPr>
        </p:nvSpPr>
        <p:spPr>
          <a:xfrm>
            <a:off x="4023992" y="0"/>
            <a:ext cx="3078427" cy="513508"/>
          </a:xfrm>
          <a:prstGeom prst="rect">
            <a:avLst/>
          </a:prstGeom>
        </p:spPr>
        <p:txBody>
          <a:bodyPr vert="horz" lIns="99075" tIns="49538" rIns="99075" bIns="49538" rtlCol="0"/>
          <a:lstStyle>
            <a:lvl1pPr algn="r">
              <a:defRPr sz="1300"/>
            </a:lvl1pPr>
          </a:lstStyle>
          <a:p>
            <a:fld id="{75D9BC77-116B-4DD9-9558-E808B2DB27E4}" type="datetimeFigureOut">
              <a:rPr lang="en-AU" smtClean="0"/>
              <a:t>12/08/2021</a:t>
            </a:fld>
            <a:endParaRPr lang="en-AU" dirty="0"/>
          </a:p>
        </p:txBody>
      </p:sp>
      <p:sp>
        <p:nvSpPr>
          <p:cNvPr id="4" name="Footer Placeholder 3"/>
          <p:cNvSpPr>
            <a:spLocks noGrp="1"/>
          </p:cNvSpPr>
          <p:nvPr>
            <p:ph type="ftr" sz="quarter" idx="2"/>
          </p:nvPr>
        </p:nvSpPr>
        <p:spPr>
          <a:xfrm>
            <a:off x="0" y="9721107"/>
            <a:ext cx="3078427" cy="513507"/>
          </a:xfrm>
          <a:prstGeom prst="rect">
            <a:avLst/>
          </a:prstGeom>
        </p:spPr>
        <p:txBody>
          <a:bodyPr vert="horz" lIns="99075" tIns="49538" rIns="99075" bIns="49538" rtlCol="0" anchor="b"/>
          <a:lstStyle>
            <a:lvl1pPr algn="l">
              <a:defRPr sz="1300"/>
            </a:lvl1pPr>
          </a:lstStyle>
          <a:p>
            <a:endParaRPr lang="en-AU" dirty="0"/>
          </a:p>
        </p:txBody>
      </p:sp>
      <p:sp>
        <p:nvSpPr>
          <p:cNvPr id="5" name="Slide Number Placeholder 4"/>
          <p:cNvSpPr>
            <a:spLocks noGrp="1"/>
          </p:cNvSpPr>
          <p:nvPr>
            <p:ph type="sldNum" sz="quarter" idx="3"/>
          </p:nvPr>
        </p:nvSpPr>
        <p:spPr>
          <a:xfrm>
            <a:off x="4023992" y="9721107"/>
            <a:ext cx="3078427" cy="513507"/>
          </a:xfrm>
          <a:prstGeom prst="rect">
            <a:avLst/>
          </a:prstGeom>
        </p:spPr>
        <p:txBody>
          <a:bodyPr vert="horz" lIns="99075" tIns="49538" rIns="99075" bIns="49538" rtlCol="0" anchor="b"/>
          <a:lstStyle>
            <a:lvl1pPr algn="r">
              <a:defRPr sz="1300"/>
            </a:lvl1pPr>
          </a:lstStyle>
          <a:p>
            <a:fld id="{2FFDF91E-843B-4E63-BBA0-060A7767A4CE}" type="slidenum">
              <a:rPr lang="en-AU" smtClean="0"/>
              <a:t>‹#›</a:t>
            </a:fld>
            <a:endParaRPr lang="en-AU" dirty="0"/>
          </a:p>
        </p:txBody>
      </p:sp>
    </p:spTree>
    <p:extLst>
      <p:ext uri="{BB962C8B-B14F-4D97-AF65-F5344CB8AC3E}">
        <p14:creationId xmlns:p14="http://schemas.microsoft.com/office/powerpoint/2010/main" val="226816179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8427" cy="513508"/>
          </a:xfrm>
          <a:prstGeom prst="rect">
            <a:avLst/>
          </a:prstGeom>
        </p:spPr>
        <p:txBody>
          <a:bodyPr vert="horz" lIns="99075" tIns="49538" rIns="99075" bIns="49538" rtlCol="0"/>
          <a:lstStyle>
            <a:lvl1pPr algn="l">
              <a:defRPr sz="1300"/>
            </a:lvl1pPr>
          </a:lstStyle>
          <a:p>
            <a:endParaRPr lang="en-AU" dirty="0"/>
          </a:p>
        </p:txBody>
      </p:sp>
      <p:sp>
        <p:nvSpPr>
          <p:cNvPr id="3" name="Date Placeholder 2"/>
          <p:cNvSpPr>
            <a:spLocks noGrp="1"/>
          </p:cNvSpPr>
          <p:nvPr>
            <p:ph type="dt" idx="1"/>
          </p:nvPr>
        </p:nvSpPr>
        <p:spPr>
          <a:xfrm>
            <a:off x="4023992" y="0"/>
            <a:ext cx="3078427" cy="513508"/>
          </a:xfrm>
          <a:prstGeom prst="rect">
            <a:avLst/>
          </a:prstGeom>
        </p:spPr>
        <p:txBody>
          <a:bodyPr vert="horz" lIns="99075" tIns="49538" rIns="99075" bIns="49538" rtlCol="0"/>
          <a:lstStyle>
            <a:lvl1pPr algn="r">
              <a:defRPr sz="1300"/>
            </a:lvl1pPr>
          </a:lstStyle>
          <a:p>
            <a:fld id="{4E6952AD-A3AF-4587-90FE-72F445800AAE}" type="datetimeFigureOut">
              <a:rPr lang="en-AU" smtClean="0"/>
              <a:t>12/08/2021</a:t>
            </a:fld>
            <a:endParaRPr lang="en-AU" dirty="0"/>
          </a:p>
        </p:txBody>
      </p:sp>
      <p:sp>
        <p:nvSpPr>
          <p:cNvPr id="4" name="Slide Image Placeholder 3"/>
          <p:cNvSpPr>
            <a:spLocks noGrp="1" noRot="1" noChangeAspect="1"/>
          </p:cNvSpPr>
          <p:nvPr>
            <p:ph type="sldImg" idx="2"/>
          </p:nvPr>
        </p:nvSpPr>
        <p:spPr>
          <a:xfrm>
            <a:off x="788988" y="1279525"/>
            <a:ext cx="5526087" cy="3454400"/>
          </a:xfrm>
          <a:prstGeom prst="rect">
            <a:avLst/>
          </a:prstGeom>
          <a:noFill/>
          <a:ln w="12700">
            <a:solidFill>
              <a:prstClr val="black"/>
            </a:solidFill>
          </a:ln>
        </p:spPr>
        <p:txBody>
          <a:bodyPr vert="horz" lIns="99075" tIns="49538" rIns="99075" bIns="49538" rtlCol="0" anchor="ctr"/>
          <a:lstStyle/>
          <a:p>
            <a:endParaRPr lang="en-AU" dirty="0"/>
          </a:p>
        </p:txBody>
      </p:sp>
      <p:sp>
        <p:nvSpPr>
          <p:cNvPr id="5" name="Notes Placeholder 4"/>
          <p:cNvSpPr>
            <a:spLocks noGrp="1"/>
          </p:cNvSpPr>
          <p:nvPr>
            <p:ph type="body" sz="quarter" idx="3"/>
          </p:nvPr>
        </p:nvSpPr>
        <p:spPr>
          <a:xfrm>
            <a:off x="710407" y="4925407"/>
            <a:ext cx="5683250" cy="4029879"/>
          </a:xfrm>
          <a:prstGeom prst="rect">
            <a:avLst/>
          </a:prstGeom>
        </p:spPr>
        <p:txBody>
          <a:bodyPr vert="horz" lIns="99075" tIns="49538" rIns="99075" bIns="49538"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9721107"/>
            <a:ext cx="3078427" cy="513507"/>
          </a:xfrm>
          <a:prstGeom prst="rect">
            <a:avLst/>
          </a:prstGeom>
        </p:spPr>
        <p:txBody>
          <a:bodyPr vert="horz" lIns="99075" tIns="49538" rIns="99075" bIns="49538" rtlCol="0" anchor="b"/>
          <a:lstStyle>
            <a:lvl1pPr algn="l">
              <a:defRPr sz="1300"/>
            </a:lvl1pPr>
          </a:lstStyle>
          <a:p>
            <a:endParaRPr lang="en-AU" dirty="0"/>
          </a:p>
        </p:txBody>
      </p:sp>
      <p:sp>
        <p:nvSpPr>
          <p:cNvPr id="7" name="Slide Number Placeholder 6"/>
          <p:cNvSpPr>
            <a:spLocks noGrp="1"/>
          </p:cNvSpPr>
          <p:nvPr>
            <p:ph type="sldNum" sz="quarter" idx="5"/>
          </p:nvPr>
        </p:nvSpPr>
        <p:spPr>
          <a:xfrm>
            <a:off x="4023992" y="9721107"/>
            <a:ext cx="3078427" cy="513507"/>
          </a:xfrm>
          <a:prstGeom prst="rect">
            <a:avLst/>
          </a:prstGeom>
        </p:spPr>
        <p:txBody>
          <a:bodyPr vert="horz" lIns="99075" tIns="49538" rIns="99075" bIns="49538" rtlCol="0" anchor="b"/>
          <a:lstStyle>
            <a:lvl1pPr algn="r">
              <a:defRPr sz="1300"/>
            </a:lvl1pPr>
          </a:lstStyle>
          <a:p>
            <a:fld id="{001C9F81-DB2C-42C9-B6F6-C5F374D31FE4}" type="slidenum">
              <a:rPr lang="en-AU" smtClean="0"/>
              <a:t>‹#›</a:t>
            </a:fld>
            <a:endParaRPr lang="en-AU" dirty="0"/>
          </a:p>
        </p:txBody>
      </p:sp>
    </p:spTree>
    <p:extLst>
      <p:ext uri="{BB962C8B-B14F-4D97-AF65-F5344CB8AC3E}">
        <p14:creationId xmlns:p14="http://schemas.microsoft.com/office/powerpoint/2010/main" val="4146627969"/>
      </p:ext>
    </p:extLst>
  </p:cSld>
  <p:clrMap bg1="lt1" tx1="dk1" bg2="lt2" tx2="dk2" accent1="accent1" accent2="accent2" accent3="accent3" accent4="accent4" accent5="accent5" accent6="accent6" hlink="hlink" folHlink="folHlink"/>
  <p:notesStyle>
    <a:lvl1pPr marL="0" algn="l" defTabSz="713232" rtl="0" eaLnBrk="1" latinLnBrk="0" hangingPunct="1">
      <a:defRPr sz="936" kern="1200">
        <a:solidFill>
          <a:schemeClr val="tx1"/>
        </a:solidFill>
        <a:latin typeface="+mn-lt"/>
        <a:ea typeface="+mn-ea"/>
        <a:cs typeface="+mn-cs"/>
      </a:defRPr>
    </a:lvl1pPr>
    <a:lvl2pPr marL="356616" algn="l" defTabSz="713232" rtl="0" eaLnBrk="1" latinLnBrk="0" hangingPunct="1">
      <a:defRPr sz="936" kern="1200">
        <a:solidFill>
          <a:schemeClr val="tx1"/>
        </a:solidFill>
        <a:latin typeface="+mn-lt"/>
        <a:ea typeface="+mn-ea"/>
        <a:cs typeface="+mn-cs"/>
      </a:defRPr>
    </a:lvl2pPr>
    <a:lvl3pPr marL="713232" algn="l" defTabSz="713232" rtl="0" eaLnBrk="1" latinLnBrk="0" hangingPunct="1">
      <a:defRPr sz="936" kern="1200">
        <a:solidFill>
          <a:schemeClr val="tx1"/>
        </a:solidFill>
        <a:latin typeface="+mn-lt"/>
        <a:ea typeface="+mn-ea"/>
        <a:cs typeface="+mn-cs"/>
      </a:defRPr>
    </a:lvl3pPr>
    <a:lvl4pPr marL="1069848" algn="l" defTabSz="713232" rtl="0" eaLnBrk="1" latinLnBrk="0" hangingPunct="1">
      <a:defRPr sz="936" kern="1200">
        <a:solidFill>
          <a:schemeClr val="tx1"/>
        </a:solidFill>
        <a:latin typeface="+mn-lt"/>
        <a:ea typeface="+mn-ea"/>
        <a:cs typeface="+mn-cs"/>
      </a:defRPr>
    </a:lvl4pPr>
    <a:lvl5pPr marL="1426464" algn="l" defTabSz="713232" rtl="0" eaLnBrk="1" latinLnBrk="0" hangingPunct="1">
      <a:defRPr sz="936" kern="1200">
        <a:solidFill>
          <a:schemeClr val="tx1"/>
        </a:solidFill>
        <a:latin typeface="+mn-lt"/>
        <a:ea typeface="+mn-ea"/>
        <a:cs typeface="+mn-cs"/>
      </a:defRPr>
    </a:lvl5pPr>
    <a:lvl6pPr marL="1783080" algn="l" defTabSz="713232" rtl="0" eaLnBrk="1" latinLnBrk="0" hangingPunct="1">
      <a:defRPr sz="936" kern="1200">
        <a:solidFill>
          <a:schemeClr val="tx1"/>
        </a:solidFill>
        <a:latin typeface="+mn-lt"/>
        <a:ea typeface="+mn-ea"/>
        <a:cs typeface="+mn-cs"/>
      </a:defRPr>
    </a:lvl6pPr>
    <a:lvl7pPr marL="2139696" algn="l" defTabSz="713232" rtl="0" eaLnBrk="1" latinLnBrk="0" hangingPunct="1">
      <a:defRPr sz="936" kern="1200">
        <a:solidFill>
          <a:schemeClr val="tx1"/>
        </a:solidFill>
        <a:latin typeface="+mn-lt"/>
        <a:ea typeface="+mn-ea"/>
        <a:cs typeface="+mn-cs"/>
      </a:defRPr>
    </a:lvl7pPr>
    <a:lvl8pPr marL="2496312" algn="l" defTabSz="713232" rtl="0" eaLnBrk="1" latinLnBrk="0" hangingPunct="1">
      <a:defRPr sz="936" kern="1200">
        <a:solidFill>
          <a:schemeClr val="tx1"/>
        </a:solidFill>
        <a:latin typeface="+mn-lt"/>
        <a:ea typeface="+mn-ea"/>
        <a:cs typeface="+mn-cs"/>
      </a:defRPr>
    </a:lvl8pPr>
    <a:lvl9pPr marL="2852928" algn="l" defTabSz="713232" rtl="0" eaLnBrk="1" latinLnBrk="0" hangingPunct="1">
      <a:defRPr sz="93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60438" y="1143000"/>
            <a:ext cx="4937125" cy="3086100"/>
          </a:xfrm>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p>
        </p:txBody>
      </p:sp>
      <p:sp>
        <p:nvSpPr>
          <p:cNvPr id="4" name="灯片编号占位符 3"/>
          <p:cNvSpPr>
            <a:spLocks noGrp="1"/>
          </p:cNvSpPr>
          <p:nvPr>
            <p:ph type="sldNum" sz="quarter" idx="5"/>
          </p:nvPr>
        </p:nvSpPr>
        <p:spPr/>
        <p:txBody>
          <a:bodyPr/>
          <a:lstStyle/>
          <a:p>
            <a:fld id="{001C9F81-DB2C-42C9-B6F6-C5F374D31FE4}" type="slidenum">
              <a:rPr lang="en-AU" smtClean="0"/>
              <a:t>1</a:t>
            </a:fld>
            <a:endParaRPr lang="en-AU" dirty="0"/>
          </a:p>
        </p:txBody>
      </p:sp>
    </p:spTree>
    <p:extLst>
      <p:ext uri="{BB962C8B-B14F-4D97-AF65-F5344CB8AC3E}">
        <p14:creationId xmlns:p14="http://schemas.microsoft.com/office/powerpoint/2010/main" val="36268967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indent="-171450">
              <a:buFont typeface="Arial"/>
              <a:buChar char="•"/>
            </a:pPr>
            <a:r>
              <a:rPr lang="en-US" baseline="0" dirty="0"/>
              <a:t>This is the structure of the pattern form or template we used to describe the blockchain application patterns. We use a extended pattern form from.</a:t>
            </a:r>
          </a:p>
          <a:p>
            <a:pPr marL="171450" indent="-171450">
              <a:buFont typeface="Arial"/>
              <a:buChar char="•"/>
            </a:pPr>
            <a:r>
              <a:rPr lang="en-US" baseline="0" dirty="0"/>
              <a:t>In addition to name, problem, solution and consequences, there are </a:t>
            </a:r>
          </a:p>
          <a:p>
            <a:pPr marL="171450" indent="-171450">
              <a:buFont typeface="Arial"/>
              <a:buChar char="•"/>
            </a:pPr>
            <a:r>
              <a:rPr lang="en-US" baseline="0" dirty="0"/>
              <a:t>a short summary, the context, an explicit discussion of the forces which make the problem difficult, related patterns, and some examples of real-world known uses of the pattern. </a:t>
            </a:r>
          </a:p>
          <a:p>
            <a:pPr marL="171450" indent="-171450">
              <a:buFont typeface="Arial"/>
              <a:buChar char="•"/>
            </a:pPr>
            <a:r>
              <a:rPr lang="en-US" baseline="0" dirty="0"/>
              <a:t>Forces are identified with the corresponding quality attribute, the solution will propose a trade-off between them. </a:t>
            </a:r>
          </a:p>
          <a:p>
            <a:pPr marL="171450" indent="-171450">
              <a:buFont typeface="Arial"/>
              <a:buChar char="•"/>
            </a:pPr>
            <a:r>
              <a:rPr lang="en-US" baseline="0" dirty="0"/>
              <a:t>Regarding the consequences, we distinguish the benefits and drawbacks. </a:t>
            </a:r>
          </a:p>
          <a:p>
            <a:endParaRPr lang="en-US" baseline="0" dirty="0"/>
          </a:p>
          <a:p>
            <a:pPr marL="171450" indent="-171450">
              <a:buFont typeface="Arial"/>
              <a:buChar char="•"/>
            </a:pPr>
            <a:r>
              <a:rPr lang="en-US" baseline="0" dirty="0"/>
              <a:t>Finally, we discuss features only applicable to a certain deployment of blockchain, such as monetary cost of data storage and code execution.</a:t>
            </a:r>
          </a:p>
        </p:txBody>
      </p:sp>
      <p:sp>
        <p:nvSpPr>
          <p:cNvPr id="4" name="Slide Number Placeholder 3"/>
          <p:cNvSpPr>
            <a:spLocks noGrp="1"/>
          </p:cNvSpPr>
          <p:nvPr>
            <p:ph type="sldNum" sz="quarter" idx="10"/>
          </p:nvPr>
        </p:nvSpPr>
        <p:spPr/>
        <p:txBody>
          <a:bodyPr/>
          <a:lstStyle/>
          <a:p>
            <a:fld id="{001C9F81-DB2C-42C9-B6F6-C5F374D31FE4}" type="slidenum">
              <a:rPr lang="en-AU" smtClean="0"/>
              <a:t>11</a:t>
            </a:fld>
            <a:endParaRPr lang="en-AU"/>
          </a:p>
        </p:txBody>
      </p:sp>
    </p:spTree>
    <p:extLst>
      <p:ext uri="{BB962C8B-B14F-4D97-AF65-F5344CB8AC3E}">
        <p14:creationId xmlns:p14="http://schemas.microsoft.com/office/powerpoint/2010/main" val="16739986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In this system, blockchain is responsible for storing and sharing data, and executing smart contracts.</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e blockchain component might also have tokens as digital currencies or representing other assets.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endParaRPr lang="en-US" sz="1200" kern="1200" dirty="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Due to the limitations of privacy and performance, there are off-chain auxiliary databases used in the system.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First, private data is stored in an internal database.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Second, data with large size is stored in a separate data storage, which could be a cloud service.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endParaRPr lang="en-US" sz="1200" kern="1200" dirty="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ere is a API layer between the data storage layer and the applications using the blockchain, which is same as with conventional technology.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Key management is an essential component working with blockchain.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Every participant in a blockchain network has one or more private keys, which are used by the participant to digitally sign the transactions relating to the addresses of the participant.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e security of these private keys is very important. If the private key of a user is stolen, any other user in the system can forge transactions from that user to spend the assets belonging to the user, invoke functions of smart contracts in their name. </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endParaRPr lang="en-US" sz="1200" kern="1200" dirty="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Blockchain also interact with other off-chain components. </a:t>
            </a:r>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12</a:t>
            </a:fld>
            <a:endParaRPr lang="en-AU"/>
          </a:p>
        </p:txBody>
      </p:sp>
    </p:spTree>
    <p:extLst>
      <p:ext uri="{BB962C8B-B14F-4D97-AF65-F5344CB8AC3E}">
        <p14:creationId xmlns:p14="http://schemas.microsoft.com/office/powerpoint/2010/main" val="10458776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1279525"/>
            <a:ext cx="5526087" cy="3454400"/>
          </a:xfrm>
        </p:spPr>
      </p:sp>
      <p:sp>
        <p:nvSpPr>
          <p:cNvPr id="3" name="Notes Placeholder 2"/>
          <p:cNvSpPr>
            <a:spLocks noGrp="1"/>
          </p:cNvSpPr>
          <p:nvPr>
            <p:ph type="body" idx="1"/>
          </p:nvPr>
        </p:nvSpPr>
        <p:spPr/>
        <p:txBody>
          <a:bodyPr/>
          <a:lstStyle/>
          <a:p>
            <a:pPr marL="185766" indent="-185766">
              <a:buFont typeface="Arial"/>
              <a:buChar char="•"/>
            </a:pPr>
            <a:r>
              <a:rPr lang="en-US" dirty="0"/>
              <a:t>Overview</a:t>
            </a:r>
            <a:r>
              <a:rPr lang="en-US" baseline="0" dirty="0"/>
              <a:t> of pattern collections in five categories, including</a:t>
            </a:r>
            <a:endParaRPr lang="en-US" dirty="0"/>
          </a:p>
          <a:p>
            <a:pPr marL="185766" indent="-185766">
              <a:buFont typeface="Arial"/>
              <a:buChar char="•"/>
            </a:pPr>
            <a:r>
              <a:rPr lang="en-US" dirty="0"/>
              <a:t>On-chain and off-chain is</a:t>
            </a:r>
            <a:r>
              <a:rPr lang="en-US" baseline="0" dirty="0"/>
              <a:t> the fundamental design decision</a:t>
            </a:r>
          </a:p>
          <a:p>
            <a:pPr marL="185766" indent="-185766">
              <a:buFont typeface="Arial"/>
              <a:buChar char="•"/>
            </a:pPr>
            <a:r>
              <a:rPr lang="en-US" baseline="0" dirty="0"/>
              <a:t>Oracles are </a:t>
            </a:r>
            <a:r>
              <a:rPr lang="en-US" baseline="0" dirty="0" err="1"/>
              <a:t>offchain</a:t>
            </a:r>
            <a:r>
              <a:rPr lang="en-US" baseline="0" dirty="0"/>
              <a:t>, legal and smart contract pair on chain</a:t>
            </a:r>
          </a:p>
          <a:p>
            <a:pPr marL="185766" indent="-185766">
              <a:buFont typeface="Arial"/>
              <a:buChar char="•"/>
            </a:pPr>
            <a:r>
              <a:rPr lang="en-US" baseline="0" dirty="0"/>
              <a:t>One by one discuss</a:t>
            </a:r>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13</a:t>
            </a:fld>
            <a:endParaRPr lang="en-AU"/>
          </a:p>
        </p:txBody>
      </p:sp>
    </p:spTree>
    <p:extLst>
      <p:ext uri="{BB962C8B-B14F-4D97-AF65-F5344CB8AC3E}">
        <p14:creationId xmlns:p14="http://schemas.microsoft.com/office/powerpoint/2010/main" val="42465270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60438" y="1143000"/>
            <a:ext cx="4937125" cy="3086100"/>
          </a:xfrm>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p>
        </p:txBody>
      </p:sp>
      <p:sp>
        <p:nvSpPr>
          <p:cNvPr id="4" name="灯片编号占位符 3"/>
          <p:cNvSpPr>
            <a:spLocks noGrp="1"/>
          </p:cNvSpPr>
          <p:nvPr>
            <p:ph type="sldNum" sz="quarter" idx="5"/>
          </p:nvPr>
        </p:nvSpPr>
        <p:spPr/>
        <p:txBody>
          <a:bodyPr/>
          <a:lstStyle/>
          <a:p>
            <a:fld id="{001C9F81-DB2C-42C9-B6F6-C5F374D31FE4}" type="slidenum">
              <a:rPr lang="en-AU" smtClean="0"/>
              <a:t>14</a:t>
            </a:fld>
            <a:endParaRPr lang="en-AU" dirty="0"/>
          </a:p>
        </p:txBody>
      </p:sp>
    </p:spTree>
    <p:extLst>
      <p:ext uri="{BB962C8B-B14F-4D97-AF65-F5344CB8AC3E}">
        <p14:creationId xmlns:p14="http://schemas.microsoft.com/office/powerpoint/2010/main" val="27098139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1279525"/>
            <a:ext cx="5526087" cy="3454400"/>
          </a:xfrm>
        </p:spPr>
      </p:sp>
      <p:sp>
        <p:nvSpPr>
          <p:cNvPr id="3" name="Notes Placeholder 2"/>
          <p:cNvSpPr>
            <a:spLocks noGrp="1"/>
          </p:cNvSpPr>
          <p:nvPr>
            <p:ph type="body" idx="1"/>
          </p:nvPr>
        </p:nvSpPr>
        <p:spPr/>
        <p:txBody>
          <a:bodyPr/>
          <a:lstStyle/>
          <a:p>
            <a:pPr marL="185766" indent="-185766">
              <a:buFont typeface="Arial"/>
              <a:buChar char="•"/>
            </a:pPr>
            <a:r>
              <a:rPr lang="en-US" dirty="0"/>
              <a:t>In software engineering, a design pattern is a general reusable solution to a commonly occurring problem in software design.</a:t>
            </a:r>
          </a:p>
          <a:p>
            <a:pPr marL="185766" indent="-185766">
              <a:buFont typeface="Arial"/>
              <a:buChar char="•"/>
            </a:pPr>
            <a:r>
              <a:rPr lang="en-US" baseline="0" dirty="0"/>
              <a:t> A design pattern is not a finished design that can be transformed directly into code. </a:t>
            </a:r>
          </a:p>
          <a:p>
            <a:pPr marL="185766" indent="-185766">
              <a:buFont typeface="Arial"/>
              <a:buChar char="•"/>
            </a:pPr>
            <a:r>
              <a:rPr lang="en-US" baseline="0" dirty="0"/>
              <a:t>It is a description or template for how to solve a problem that can be used in many different situations. </a:t>
            </a:r>
          </a:p>
          <a:p>
            <a:pPr marL="185766" indent="-185766">
              <a:buFont typeface="Arial"/>
              <a:buChar char="•"/>
            </a:pPr>
            <a:r>
              <a:rPr lang="en-US" dirty="0"/>
              <a:t>A design pattern defines constraints that restrict the roles of architectural elements (processing, connectors and data) and the interaction among those elements. </a:t>
            </a:r>
          </a:p>
          <a:p>
            <a:pPr marL="185766" indent="-185766">
              <a:buFont typeface="Arial"/>
              <a:buChar char="•"/>
            </a:pPr>
            <a:r>
              <a:rPr lang="en-US" dirty="0"/>
              <a:t>Adopting a design pattern causes trade-offs among quality attributes.</a:t>
            </a:r>
          </a:p>
          <a:p>
            <a:endParaRPr lang="en-US" dirty="0"/>
          </a:p>
          <a:p>
            <a:pPr marL="185766" indent="-185766">
              <a:buFont typeface="Arial"/>
              <a:buChar char="•"/>
            </a:pPr>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2</a:t>
            </a:fld>
            <a:endParaRPr lang="en-AU"/>
          </a:p>
        </p:txBody>
      </p:sp>
    </p:spTree>
    <p:extLst>
      <p:ext uri="{BB962C8B-B14F-4D97-AF65-F5344CB8AC3E}">
        <p14:creationId xmlns:p14="http://schemas.microsoft.com/office/powerpoint/2010/main" val="26685521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indent="-171450">
              <a:buFont typeface="Arial"/>
              <a:buChar char="•"/>
            </a:pPr>
            <a:r>
              <a:rPr lang="en-US" dirty="0"/>
              <a:t>There are two ways to design</a:t>
            </a:r>
            <a:r>
              <a:rPr lang="en-US" baseline="0" dirty="0"/>
              <a:t> a software architecture. </a:t>
            </a:r>
          </a:p>
          <a:p>
            <a:pPr marL="171450" indent="-171450">
              <a:buFont typeface="Arial"/>
              <a:buChar char="•"/>
            </a:pPr>
            <a:r>
              <a:rPr lang="en-US" baseline="0" dirty="0"/>
              <a:t>One is from scratch, which is </a:t>
            </a:r>
            <a:r>
              <a:rPr lang="en-US" baseline="0" dirty="0" err="1"/>
              <a:t>labour-intensive</a:t>
            </a:r>
            <a:r>
              <a:rPr lang="en-US" baseline="0" dirty="0"/>
              <a:t> and error-prone, and the solution might not be optimal </a:t>
            </a:r>
          </a:p>
          <a:p>
            <a:pPr marL="171450" indent="-171450">
              <a:buFont typeface="Arial"/>
              <a:buChar char="•"/>
            </a:pPr>
            <a:r>
              <a:rPr lang="en-US" baseline="0" dirty="0"/>
              <a:t>The other way is to apply a more generic solution or strategy, like architectural style or architecture pattern, and adapt it to the problem, like we use libraries in programing. </a:t>
            </a:r>
          </a:p>
          <a:p>
            <a:pPr marL="171450" indent="-171450">
              <a:buFont typeface="Arial"/>
              <a:buChar char="•"/>
            </a:pPr>
            <a:r>
              <a:rPr lang="en-US" baseline="0" dirty="0"/>
              <a:t>Reusing existing design from others cause us less work and less errors.  </a:t>
            </a:r>
            <a:endParaRPr lang="en-US" dirty="0"/>
          </a:p>
          <a:p>
            <a:pPr marL="171450" indent="-171450">
              <a:buFont typeface="Arial"/>
              <a:buChar char="•"/>
            </a:pPr>
            <a:r>
              <a:rPr lang="en-US" dirty="0"/>
              <a:t>The diagram gives two</a:t>
            </a:r>
            <a:r>
              <a:rPr lang="en-US" baseline="0" dirty="0"/>
              <a:t> dimensions for classification of some architecture design concept. </a:t>
            </a:r>
          </a:p>
          <a:p>
            <a:pPr marL="171450" indent="-171450">
              <a:buFont typeface="Arial"/>
              <a:buChar char="•"/>
            </a:pPr>
            <a:r>
              <a:rPr lang="en-US" baseline="0" dirty="0"/>
              <a:t>X axis represents scope, which is from programming language level to the system structure level </a:t>
            </a:r>
          </a:p>
          <a:p>
            <a:pPr marL="171450" indent="-171450">
              <a:buFont typeface="Arial"/>
              <a:buChar char="•"/>
            </a:pPr>
            <a:r>
              <a:rPr lang="en-US" baseline="0" dirty="0"/>
              <a:t>Y axis represent application domain knowledge, which is from shallow to deep</a:t>
            </a:r>
          </a:p>
          <a:p>
            <a:pPr marL="171450" indent="-171450">
              <a:buFont typeface="Arial"/>
              <a:buChar char="•"/>
            </a:pPr>
            <a:r>
              <a:rPr lang="en-US" baseline="0" dirty="0"/>
              <a:t>The design patterns you perhaps familiar with is at language level and relatively shallow in terms of domain knowledge. Which means it is agnostic domain. </a:t>
            </a:r>
          </a:p>
          <a:p>
            <a:pPr marL="171450" indent="-171450">
              <a:buFont typeface="Arial"/>
              <a:buChar char="•"/>
            </a:pPr>
            <a:r>
              <a:rPr lang="en-US" baseline="0" dirty="0"/>
              <a:t>The range of architecture styles can be large, which covers language level, application structure and system structure.</a:t>
            </a:r>
          </a:p>
          <a:p>
            <a:pPr marL="171450" indent="-171450">
              <a:buFont typeface="Arial"/>
              <a:buChar char="•"/>
            </a:pPr>
            <a:r>
              <a:rPr lang="en-US" baseline="0" dirty="0"/>
              <a:t>Architecture patterns, on the other hand, is at application structure, which doesn’t give a system level structure. </a:t>
            </a:r>
          </a:p>
          <a:p>
            <a:pPr marL="171450" indent="-171450">
              <a:buFont typeface="Arial"/>
              <a:buChar char="•"/>
            </a:pPr>
            <a:r>
              <a:rPr lang="en-US" baseline="0" dirty="0"/>
              <a:t>Finally, the domain specific software architectures needs the deepest domain knowledge, and gives a system level design solution</a:t>
            </a:r>
          </a:p>
          <a:p>
            <a:pPr marL="171450" indent="-171450">
              <a:buFont typeface="Arial"/>
              <a:buChar char="•"/>
            </a:pPr>
            <a:endParaRPr lang="en-US" dirty="0"/>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3</a:t>
            </a:fld>
            <a:endParaRPr lang="en-AU"/>
          </a:p>
        </p:txBody>
      </p:sp>
    </p:spTree>
    <p:extLst>
      <p:ext uri="{BB962C8B-B14F-4D97-AF65-F5344CB8AC3E}">
        <p14:creationId xmlns:p14="http://schemas.microsoft.com/office/powerpoint/2010/main" val="26685521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1279525"/>
            <a:ext cx="5526087" cy="3454400"/>
          </a:xfrm>
        </p:spPr>
      </p:sp>
      <p:sp>
        <p:nvSpPr>
          <p:cNvPr id="3" name="Notes Placeholder 2"/>
          <p:cNvSpPr>
            <a:spLocks noGrp="1"/>
          </p:cNvSpPr>
          <p:nvPr>
            <p:ph type="body" idx="1"/>
          </p:nvPr>
        </p:nvSpPr>
        <p:spPr/>
        <p:txBody>
          <a:bodyPr/>
          <a:lstStyle/>
          <a:p>
            <a:pPr marL="185766" indent="-185766">
              <a:buFont typeface="Arial"/>
              <a:buChar char="•"/>
            </a:pPr>
            <a:r>
              <a:rPr lang="en-US" baseline="0" dirty="0"/>
              <a:t>There is no need to reinvent the wheel</a:t>
            </a:r>
          </a:p>
        </p:txBody>
      </p:sp>
      <p:sp>
        <p:nvSpPr>
          <p:cNvPr id="4" name="Slide Number Placeholder 3"/>
          <p:cNvSpPr>
            <a:spLocks noGrp="1"/>
          </p:cNvSpPr>
          <p:nvPr>
            <p:ph type="sldNum" sz="quarter" idx="10"/>
          </p:nvPr>
        </p:nvSpPr>
        <p:spPr/>
        <p:txBody>
          <a:bodyPr/>
          <a:lstStyle/>
          <a:p>
            <a:fld id="{001C9F81-DB2C-42C9-B6F6-C5F374D31FE4}" type="slidenum">
              <a:rPr lang="en-AU" smtClean="0"/>
              <a:t>4</a:t>
            </a:fld>
            <a:endParaRPr lang="en-AU"/>
          </a:p>
        </p:txBody>
      </p:sp>
    </p:spTree>
    <p:extLst>
      <p:ext uri="{BB962C8B-B14F-4D97-AF65-F5344CB8AC3E}">
        <p14:creationId xmlns:p14="http://schemas.microsoft.com/office/powerpoint/2010/main" val="26685521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indent="-171450">
              <a:buFont typeface="Arial"/>
              <a:buChar char="•"/>
            </a:pPr>
            <a:r>
              <a:rPr lang="en-US" dirty="0"/>
              <a:t>The</a:t>
            </a:r>
            <a:r>
              <a:rPr lang="en-US" baseline="0" dirty="0"/>
              <a:t> object oriented design patterns from Gang of Four are the most widely used design patterns</a:t>
            </a:r>
          </a:p>
          <a:p>
            <a:pPr marL="171450" indent="-171450">
              <a:buFont typeface="Arial"/>
              <a:buChar char="•"/>
            </a:pPr>
            <a:r>
              <a:rPr lang="en-US" baseline="0" dirty="0"/>
              <a:t>In the book design Patterns: elements of reusable object-oriented software, </a:t>
            </a:r>
            <a:r>
              <a:rPr lang="mr-IN" baseline="0" dirty="0"/>
              <a:t>…</a:t>
            </a:r>
            <a:endParaRPr lang="en-AU" baseline="0" dirty="0"/>
          </a:p>
          <a:p>
            <a:pPr marL="171450" indent="-171450">
              <a:buFont typeface="Arial"/>
              <a:buChar char="•"/>
            </a:pPr>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5</a:t>
            </a:fld>
            <a:endParaRPr lang="en-AU"/>
          </a:p>
        </p:txBody>
      </p:sp>
    </p:spTree>
    <p:extLst>
      <p:ext uri="{BB962C8B-B14F-4D97-AF65-F5344CB8AC3E}">
        <p14:creationId xmlns:p14="http://schemas.microsoft.com/office/powerpoint/2010/main" val="27419460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indent="-171450">
              <a:buFont typeface="Arial"/>
              <a:buChar char="•"/>
            </a:pPr>
            <a:r>
              <a:rPr lang="en-US" dirty="0"/>
              <a:t>Four essential</a:t>
            </a:r>
            <a:r>
              <a:rPr lang="en-US" baseline="0" dirty="0"/>
              <a:t> elements include name, problem, solution and consequence</a:t>
            </a:r>
          </a:p>
          <a:p>
            <a:pPr marL="171450" indent="-171450">
              <a:buFont typeface="Arial"/>
              <a:buChar char="•"/>
            </a:pPr>
            <a:r>
              <a:rPr lang="en-US" dirty="0"/>
              <a:t>pattern name is a handle we can use to describe</a:t>
            </a:r>
            <a:r>
              <a:rPr lang="en-US" baseline="0" dirty="0"/>
              <a:t> a design problem, its solutions, and consequences in a word or two. </a:t>
            </a:r>
          </a:p>
          <a:p>
            <a:pPr marL="171450" indent="-171450">
              <a:buFont typeface="Arial"/>
              <a:buChar char="•"/>
            </a:pPr>
            <a:r>
              <a:rPr lang="en-US" baseline="0" dirty="0"/>
              <a:t>Name a pattern immediately increases our design vocabulary. </a:t>
            </a:r>
          </a:p>
          <a:p>
            <a:pPr marL="171450" indent="-171450">
              <a:buFont typeface="Arial"/>
              <a:buChar char="•"/>
            </a:pPr>
            <a:r>
              <a:rPr lang="en-US" baseline="0" dirty="0"/>
              <a:t>Having a vocabulary for patterns lets us talk about them with others</a:t>
            </a:r>
          </a:p>
          <a:p>
            <a:pPr marL="171450" indent="-171450">
              <a:buFont typeface="Arial"/>
              <a:buChar char="•"/>
            </a:pPr>
            <a:r>
              <a:rPr lang="en-US" baseline="0" dirty="0"/>
              <a:t>But Finding good names has been one of the hardest parts of developing a catalog.</a:t>
            </a:r>
          </a:p>
          <a:p>
            <a:pPr marL="171450" indent="-171450">
              <a:buFont typeface="Arial"/>
              <a:buChar char="•"/>
            </a:pPr>
            <a:endParaRPr lang="en-US" baseline="0" dirty="0"/>
          </a:p>
          <a:p>
            <a:pPr marL="171450" indent="-171450">
              <a:buFont typeface="Arial"/>
              <a:buChar char="•"/>
            </a:pPr>
            <a:r>
              <a:rPr lang="en-US" baseline="0" dirty="0"/>
              <a:t>The problem describes when to apply the pattern. </a:t>
            </a:r>
          </a:p>
          <a:p>
            <a:pPr marL="171450" indent="-171450">
              <a:buFont typeface="Arial"/>
              <a:buChar char="•"/>
            </a:pPr>
            <a:r>
              <a:rPr lang="en-US" baseline="0" dirty="0"/>
              <a:t>It explains the problem and its context. </a:t>
            </a:r>
          </a:p>
          <a:p>
            <a:pPr marL="171450" indent="-171450">
              <a:buFont typeface="Arial"/>
              <a:buChar char="•"/>
            </a:pPr>
            <a:r>
              <a:rPr lang="en-US" baseline="0" dirty="0"/>
              <a:t>Sometimes the problem will include a list of conditions that must be met before it makes sense to apply the pattern.</a:t>
            </a:r>
          </a:p>
          <a:p>
            <a:pPr marL="171450" indent="-171450">
              <a:buFont typeface="Arial"/>
              <a:buChar char="•"/>
            </a:pPr>
            <a:endParaRPr lang="en-US" baseline="0" dirty="0"/>
          </a:p>
          <a:p>
            <a:pPr marL="171450" indent="-171450">
              <a:buFont typeface="Arial"/>
              <a:buChar char="•"/>
            </a:pPr>
            <a:r>
              <a:rPr lang="en-US" baseline="0" dirty="0"/>
              <a:t>The solution describes the elements that make up the design, their relationships, responsibilities, and collaborations. </a:t>
            </a:r>
          </a:p>
          <a:p>
            <a:pPr marL="171450" indent="-171450">
              <a:buFont typeface="Arial"/>
              <a:buChar char="•"/>
            </a:pPr>
            <a:r>
              <a:rPr lang="en-US" baseline="0" dirty="0"/>
              <a:t>The solution doesn’t describe a particular concrete design or implementation, because a pattern is like a template that can be applied in many different situations. </a:t>
            </a:r>
          </a:p>
          <a:p>
            <a:pPr marL="171450" indent="-171450">
              <a:buFont typeface="Arial"/>
              <a:buChar char="•"/>
            </a:pPr>
            <a:r>
              <a:rPr lang="en-US" baseline="0" dirty="0"/>
              <a:t>Instead, the pattern provides an abstract description of a design problem and how a general arrangement of elements (classes and objects in our case) solves it. </a:t>
            </a:r>
          </a:p>
          <a:p>
            <a:pPr marL="171450" indent="-171450">
              <a:buFont typeface="Arial"/>
              <a:buChar char="•"/>
            </a:pPr>
            <a:endParaRPr lang="en-US" baseline="0" dirty="0"/>
          </a:p>
          <a:p>
            <a:pPr marL="171450" indent="-171450">
              <a:buFont typeface="Arial"/>
              <a:buChar char="•"/>
            </a:pPr>
            <a:r>
              <a:rPr lang="en-US" baseline="0" dirty="0"/>
              <a:t>The consequences are the results and trade-offs of applying the pattern. </a:t>
            </a:r>
          </a:p>
          <a:p>
            <a:pPr marL="171450" indent="-171450">
              <a:buFont typeface="Arial"/>
              <a:buChar char="•"/>
            </a:pPr>
            <a:r>
              <a:rPr lang="en-US" baseline="0" dirty="0"/>
              <a:t>they are critical for evaluating design alternatives and for understanding the costs and benefits of applying the pattern. The consequences for software often concern space and time trade-offs. </a:t>
            </a:r>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7</a:t>
            </a:fld>
            <a:endParaRPr lang="en-AU"/>
          </a:p>
        </p:txBody>
      </p:sp>
    </p:spTree>
    <p:extLst>
      <p:ext uri="{BB962C8B-B14F-4D97-AF65-F5344CB8AC3E}">
        <p14:creationId xmlns:p14="http://schemas.microsoft.com/office/powerpoint/2010/main" val="16739986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171450" indent="-171450">
              <a:buFont typeface="Arial"/>
              <a:buChar char="•"/>
            </a:pPr>
            <a:r>
              <a:rPr lang="en-US" dirty="0"/>
              <a:t>Two kind</a:t>
            </a:r>
            <a:r>
              <a:rPr lang="en-US" baseline="0" dirty="0"/>
              <a:t>s of requirements</a:t>
            </a:r>
          </a:p>
          <a:p>
            <a:pPr marL="171450" indent="-171450">
              <a:buFont typeface="Arial"/>
              <a:buChar char="•"/>
            </a:pPr>
            <a:r>
              <a:rPr lang="en-US" baseline="0" dirty="0"/>
              <a:t>FR: specify the behavior of system </a:t>
            </a:r>
          </a:p>
          <a:p>
            <a:pPr marL="171450" indent="-171450">
              <a:buFont typeface="Arial"/>
              <a:buChar char="•"/>
            </a:pPr>
            <a:r>
              <a:rPr lang="en-US" baseline="0" dirty="0"/>
              <a:t>NFR: specifies criteria that can be used to judge how well the system operates</a:t>
            </a:r>
            <a:endParaRPr lang="en-US" dirty="0"/>
          </a:p>
          <a:p>
            <a:r>
              <a:rPr lang="en-US" dirty="0"/>
              <a:t>With</a:t>
            </a:r>
            <a:r>
              <a:rPr lang="en-US" baseline="0" dirty="0"/>
              <a:t> a fixed budget and timeframe, there is tradeoffs between non functional properties </a:t>
            </a:r>
            <a:endParaRPr lang="en-US" dirty="0"/>
          </a:p>
        </p:txBody>
      </p:sp>
      <p:sp>
        <p:nvSpPr>
          <p:cNvPr id="4" name="Slide Number Placeholder 3"/>
          <p:cNvSpPr>
            <a:spLocks noGrp="1"/>
          </p:cNvSpPr>
          <p:nvPr>
            <p:ph type="sldNum" sz="quarter" idx="10"/>
          </p:nvPr>
        </p:nvSpPr>
        <p:spPr/>
        <p:txBody>
          <a:bodyPr/>
          <a:lstStyle/>
          <a:p>
            <a:fld id="{9A496215-5E4C-414D-A8DB-C38AA7CF7C2A}" type="slidenum">
              <a:rPr lang="en-AU" smtClean="0"/>
              <a:pPr/>
              <a:t>8</a:t>
            </a:fld>
            <a:endParaRPr lang="en-AU"/>
          </a:p>
        </p:txBody>
      </p:sp>
    </p:spTree>
    <p:extLst>
      <p:ext uri="{BB962C8B-B14F-4D97-AF65-F5344CB8AC3E}">
        <p14:creationId xmlns:p14="http://schemas.microsoft.com/office/powerpoint/2010/main" val="15383813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AU" dirty="0"/>
              <a:t>International standards for evaluation of software quality</a:t>
            </a:r>
          </a:p>
          <a:p>
            <a:pPr marL="171450" indent="-171450">
              <a:buFont typeface="Arial"/>
              <a:buChar char="•"/>
            </a:pPr>
            <a:r>
              <a:rPr lang="en-AU" dirty="0"/>
              <a:t>Blockchain has good and bad quality</a:t>
            </a:r>
            <a:endParaRPr lang="en-US" dirty="0"/>
          </a:p>
        </p:txBody>
      </p:sp>
      <p:sp>
        <p:nvSpPr>
          <p:cNvPr id="4" name="Slide Number Placeholder 3"/>
          <p:cNvSpPr>
            <a:spLocks noGrp="1"/>
          </p:cNvSpPr>
          <p:nvPr>
            <p:ph type="sldNum" sz="quarter" idx="10"/>
          </p:nvPr>
        </p:nvSpPr>
        <p:spPr/>
        <p:txBody>
          <a:bodyPr/>
          <a:lstStyle/>
          <a:p>
            <a:fld id="{9A496215-5E4C-414D-A8DB-C38AA7CF7C2A}" type="slidenum">
              <a:rPr lang="en-AU" smtClean="0">
                <a:solidFill>
                  <a:prstClr val="black"/>
                </a:solidFill>
              </a:rPr>
              <a:pPr/>
              <a:t>9</a:t>
            </a:fld>
            <a:endParaRPr lang="en-AU">
              <a:solidFill>
                <a:prstClr val="black"/>
              </a:solidFill>
            </a:endParaRPr>
          </a:p>
        </p:txBody>
      </p:sp>
    </p:spTree>
    <p:extLst>
      <p:ext uri="{BB962C8B-B14F-4D97-AF65-F5344CB8AC3E}">
        <p14:creationId xmlns:p14="http://schemas.microsoft.com/office/powerpoint/2010/main" val="38232865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1279525"/>
            <a:ext cx="5526087" cy="3454400"/>
          </a:xfrm>
        </p:spPr>
      </p:sp>
      <p:sp>
        <p:nvSpPr>
          <p:cNvPr id="3" name="Notes Placeholder 2"/>
          <p:cNvSpPr>
            <a:spLocks noGrp="1"/>
          </p:cNvSpPr>
          <p:nvPr>
            <p:ph type="body" idx="1"/>
          </p:nvPr>
        </p:nvSpPr>
        <p:spPr/>
        <p:txBody>
          <a:bodyPr/>
          <a:lstStyle/>
          <a:p>
            <a:pPr marL="185766" indent="-185766">
              <a:buFont typeface="Arial"/>
              <a:buChar char="•"/>
            </a:pPr>
            <a:r>
              <a:rPr lang="en-US" dirty="0"/>
              <a:t>Overview</a:t>
            </a:r>
            <a:r>
              <a:rPr lang="en-US" baseline="0" dirty="0"/>
              <a:t> of pattern collections in five categories, including</a:t>
            </a:r>
            <a:endParaRPr lang="en-US" dirty="0"/>
          </a:p>
          <a:p>
            <a:pPr marL="185766" indent="-185766">
              <a:buFont typeface="Arial"/>
              <a:buChar char="•"/>
            </a:pPr>
            <a:r>
              <a:rPr lang="en-US" dirty="0"/>
              <a:t>On-chain and off-chain is</a:t>
            </a:r>
            <a:r>
              <a:rPr lang="en-US" baseline="0" dirty="0"/>
              <a:t> the fundamental design decision</a:t>
            </a:r>
          </a:p>
          <a:p>
            <a:pPr marL="185766" indent="-185766">
              <a:buFont typeface="Arial"/>
              <a:buChar char="•"/>
            </a:pPr>
            <a:r>
              <a:rPr lang="en-US" baseline="0" dirty="0"/>
              <a:t>Oracles are </a:t>
            </a:r>
            <a:r>
              <a:rPr lang="en-US" baseline="0" dirty="0" err="1"/>
              <a:t>offchain</a:t>
            </a:r>
            <a:r>
              <a:rPr lang="en-US" baseline="0" dirty="0"/>
              <a:t>, legal and smart contract pair on chain</a:t>
            </a:r>
          </a:p>
          <a:p>
            <a:pPr marL="185766" indent="-185766">
              <a:buFont typeface="Arial"/>
              <a:buChar char="•"/>
            </a:pPr>
            <a:r>
              <a:rPr lang="en-US" baseline="0" dirty="0"/>
              <a:t>One by one discuss</a:t>
            </a:r>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10</a:t>
            </a:fld>
            <a:endParaRPr lang="en-AU"/>
          </a:p>
        </p:txBody>
      </p:sp>
    </p:spTree>
    <p:extLst>
      <p:ext uri="{BB962C8B-B14F-4D97-AF65-F5344CB8AC3E}">
        <p14:creationId xmlns:p14="http://schemas.microsoft.com/office/powerpoint/2010/main" val="90735806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648000" y="2357822"/>
            <a:ext cx="5063046" cy="1910434"/>
          </a:xfrm>
        </p:spPr>
        <p:txBody>
          <a:bodyPr anchor="t">
            <a:normAutofit/>
          </a:bodyPr>
          <a:lstStyle>
            <a:lvl1pPr algn="l">
              <a:defRPr sz="3200">
                <a:latin typeface="+mn-lt"/>
              </a:defRPr>
            </a:lvl1pPr>
          </a:lstStyle>
          <a:p>
            <a:r>
              <a:rPr lang="de-DE" dirty="0"/>
              <a:t>Mastertitelformat bearbeiten</a:t>
            </a:r>
            <a:endParaRPr lang="en-US" dirty="0"/>
          </a:p>
        </p:txBody>
      </p:sp>
      <p:sp>
        <p:nvSpPr>
          <p:cNvPr id="3" name="Subtitle 2"/>
          <p:cNvSpPr>
            <a:spLocks noGrp="1"/>
          </p:cNvSpPr>
          <p:nvPr>
            <p:ph type="subTitle" idx="1"/>
          </p:nvPr>
        </p:nvSpPr>
        <p:spPr>
          <a:xfrm>
            <a:off x="648000" y="4502034"/>
            <a:ext cx="8035200" cy="659722"/>
          </a:xfrm>
        </p:spPr>
        <p:txBody>
          <a:bodyPr/>
          <a:lstStyle>
            <a:lvl1pPr marL="0" indent="0" algn="l">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dirty="0"/>
              <a:t>Master-Untertitelformat bearbeiten</a:t>
            </a:r>
            <a:endParaRPr lang="en-US" dirty="0"/>
          </a:p>
        </p:txBody>
      </p:sp>
      <p:sp>
        <p:nvSpPr>
          <p:cNvPr id="11" name="Rechteck 10">
            <a:extLst>
              <a:ext uri="{FF2B5EF4-FFF2-40B4-BE49-F238E27FC236}">
                <a16:creationId xmlns:a16="http://schemas.microsoft.com/office/drawing/2014/main" id="{A24CE11F-8AFC-46C7-ADA1-33DFCEA3E511}"/>
              </a:ext>
            </a:extLst>
          </p:cNvPr>
          <p:cNvSpPr/>
          <p:nvPr userDrawn="1"/>
        </p:nvSpPr>
        <p:spPr bwMode="auto">
          <a:xfrm>
            <a:off x="0" y="2"/>
            <a:ext cx="595309" cy="2275876"/>
          </a:xfrm>
          <a:prstGeom prst="rect">
            <a:avLst/>
          </a:prstGeom>
          <a:solidFill>
            <a:srgbClr val="C50E1F"/>
          </a:solidFill>
          <a:ln>
            <a:noFill/>
          </a:ln>
          <a:effectLst/>
          <a:extLst/>
        </p:spPr>
        <p:txBody>
          <a:bodyPr vert="horz" wrap="square" lIns="91440" tIns="45720" rIns="91440" bIns="45720" numCol="1" rtlCol="0" anchor="ctr" anchorCtr="0" compatLnSpc="1">
            <a:prstTxWarp prst="textNoShape">
              <a:avLst/>
            </a:prstTxWarp>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15" name="Line 8">
            <a:extLst>
              <a:ext uri="{FF2B5EF4-FFF2-40B4-BE49-F238E27FC236}">
                <a16:creationId xmlns:a16="http://schemas.microsoft.com/office/drawing/2014/main" id="{B92486F8-C720-4BE1-933E-699878A306A5}"/>
              </a:ext>
            </a:extLst>
          </p:cNvPr>
          <p:cNvSpPr>
            <a:spLocks noChangeShapeType="1"/>
          </p:cNvSpPr>
          <p:nvPr userDrawn="1">
            <p:custDataLst>
              <p:tags r:id="rId1"/>
            </p:custDataLst>
          </p:nvPr>
        </p:nvSpPr>
        <p:spPr bwMode="auto">
          <a:xfrm>
            <a:off x="648000" y="5256000"/>
            <a:ext cx="80352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p>
        </p:txBody>
      </p:sp>
      <p:pic>
        <p:nvPicPr>
          <p:cNvPr id="10" name="Content Placeholder 5">
            <a:extLst>
              <a:ext uri="{FF2B5EF4-FFF2-40B4-BE49-F238E27FC236}">
                <a16:creationId xmlns:a16="http://schemas.microsoft.com/office/drawing/2014/main" id="{C1274533-273C-4384-9661-F2AACF1EC59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900245" y="0"/>
            <a:ext cx="2782955" cy="3627438"/>
          </a:xfrm>
          <a:prstGeom prst="rect">
            <a:avLst/>
          </a:prstGeom>
        </p:spPr>
      </p:pic>
      <p:sp>
        <p:nvSpPr>
          <p:cNvPr id="12" name="Line 8">
            <a:extLst>
              <a:ext uri="{FF2B5EF4-FFF2-40B4-BE49-F238E27FC236}">
                <a16:creationId xmlns:a16="http://schemas.microsoft.com/office/drawing/2014/main" id="{E698EC1D-61F7-4462-BDF9-B30D251FEC41}"/>
              </a:ext>
            </a:extLst>
          </p:cNvPr>
          <p:cNvSpPr>
            <a:spLocks noChangeShapeType="1"/>
          </p:cNvSpPr>
          <p:nvPr userDrawn="1">
            <p:custDataLst>
              <p:tags r:id="rId2"/>
            </p:custDataLst>
          </p:nvPr>
        </p:nvSpPr>
        <p:spPr bwMode="auto">
          <a:xfrm>
            <a:off x="648000" y="2271600"/>
            <a:ext cx="5063046" cy="123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p>
        </p:txBody>
      </p:sp>
      <p:sp>
        <p:nvSpPr>
          <p:cNvPr id="6" name="TextBox 5">
            <a:extLst>
              <a:ext uri="{FF2B5EF4-FFF2-40B4-BE49-F238E27FC236}">
                <a16:creationId xmlns:a16="http://schemas.microsoft.com/office/drawing/2014/main" id="{2F445A93-2278-4E94-8AD7-E4FD0393935D}"/>
              </a:ext>
            </a:extLst>
          </p:cNvPr>
          <p:cNvSpPr txBox="1"/>
          <p:nvPr userDrawn="1"/>
        </p:nvSpPr>
        <p:spPr>
          <a:xfrm>
            <a:off x="648000" y="997349"/>
            <a:ext cx="5063046" cy="1200329"/>
          </a:xfrm>
          <a:prstGeom prst="rect">
            <a:avLst/>
          </a:prstGeom>
          <a:noFill/>
        </p:spPr>
        <p:txBody>
          <a:bodyPr wrap="square" rtlCol="0" anchor="b">
            <a:spAutoFit/>
          </a:bodyPr>
          <a:lstStyle/>
          <a:p>
            <a:pPr marL="0" marR="0" lvl="0" indent="0" algn="l" defTabSz="713232" rtl="0" eaLnBrk="1" fontAlgn="auto" latinLnBrk="0" hangingPunct="1">
              <a:lnSpc>
                <a:spcPct val="100000"/>
              </a:lnSpc>
              <a:spcBef>
                <a:spcPts val="0"/>
              </a:spcBef>
              <a:spcAft>
                <a:spcPts val="0"/>
              </a:spcAft>
              <a:buClrTx/>
              <a:buSzTx/>
              <a:buFontTx/>
              <a:buNone/>
              <a:tabLst/>
              <a:defRPr/>
            </a:pPr>
            <a:r>
              <a:rPr lang="en-AU" sz="3600" dirty="0"/>
              <a:t>Software Architecture for Blockchain Applications</a:t>
            </a:r>
            <a:endParaRPr lang="en-US" sz="3600" dirty="0"/>
          </a:p>
        </p:txBody>
      </p:sp>
    </p:spTree>
    <p:extLst>
      <p:ext uri="{BB962C8B-B14F-4D97-AF65-F5344CB8AC3E}">
        <p14:creationId xmlns:p14="http://schemas.microsoft.com/office/powerpoint/2010/main" val="19337924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Unter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4684CF-A522-4762-81FE-7268A18CA1B2}"/>
              </a:ext>
            </a:extLst>
          </p:cNvPr>
          <p:cNvSpPr>
            <a:spLocks noGrp="1"/>
          </p:cNvSpPr>
          <p:nvPr>
            <p:ph type="title"/>
          </p:nvPr>
        </p:nvSpPr>
        <p:spPr/>
        <p:txBody>
          <a:bodyPr/>
          <a:lstStyle/>
          <a:p>
            <a:r>
              <a:rPr lang="de-DE" dirty="0"/>
              <a:t>Mastertitelformat bearbeiten</a:t>
            </a:r>
          </a:p>
        </p:txBody>
      </p:sp>
      <p:sp>
        <p:nvSpPr>
          <p:cNvPr id="3" name="Inhaltsplatzhalter 2">
            <a:extLst>
              <a:ext uri="{FF2B5EF4-FFF2-40B4-BE49-F238E27FC236}">
                <a16:creationId xmlns:a16="http://schemas.microsoft.com/office/drawing/2014/main" id="{006AD781-7D9E-4357-8E0B-277122AFB574}"/>
              </a:ext>
            </a:extLst>
          </p:cNvPr>
          <p:cNvSpPr>
            <a:spLocks noGrp="1"/>
          </p:cNvSpPr>
          <p:nvPr>
            <p:ph idx="1"/>
          </p:nvPr>
        </p:nvSpPr>
        <p:spPr>
          <a:xfrm>
            <a:off x="648000" y="1717040"/>
            <a:ext cx="7953081" cy="3480725"/>
          </a:xfrm>
        </p:spPr>
        <p:txBody>
          <a:bodyPr/>
          <a:lstStyle>
            <a:lvl1pPr>
              <a:lnSpc>
                <a:spcPct val="120000"/>
              </a:lnSpc>
              <a:defRPr sz="1500"/>
            </a:lvl1pPr>
            <a:lvl2pPr marL="301601" indent="-150800">
              <a:defRPr sz="1333"/>
            </a:lvl2pPr>
            <a:lvl3pPr marL="525156" indent="-150800">
              <a:defRPr/>
            </a:lvl3pPr>
            <a:lvl4pPr marL="748711" indent="-150800">
              <a:defRPr/>
            </a:lvl4pPr>
            <a:lvl5pPr marL="972266" indent="-149478">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Fußzeilenplatzhalter 3">
            <a:extLst>
              <a:ext uri="{FF2B5EF4-FFF2-40B4-BE49-F238E27FC236}">
                <a16:creationId xmlns:a16="http://schemas.microsoft.com/office/drawing/2014/main" id="{07D24C13-1A78-49C1-860A-6E5637FD4E07}"/>
              </a:ext>
            </a:extLst>
          </p:cNvPr>
          <p:cNvSpPr>
            <a:spLocks noGrp="1"/>
          </p:cNvSpPr>
          <p:nvPr>
            <p:ph type="ftr" sz="quarter" idx="10"/>
          </p:nvPr>
        </p:nvSpPr>
        <p:spPr>
          <a:xfrm>
            <a:off x="3028950" y="5296959"/>
            <a:ext cx="3086100" cy="304271"/>
          </a:xfrm>
          <a:prstGeom prst="rect">
            <a:avLst/>
          </a:prstGeom>
        </p:spPr>
        <p:txBody>
          <a:bodyPr/>
          <a:lstStyle>
            <a:lvl1pPr>
              <a:defRPr/>
            </a:lvl1pPr>
          </a:lstStyle>
          <a:p>
            <a:r>
              <a:rPr lang="de-DE" altLang="de-DE"/>
              <a:t> </a:t>
            </a:r>
            <a:endParaRPr lang="de-DE" altLang="de-DE" b="0"/>
          </a:p>
        </p:txBody>
      </p:sp>
      <p:sp>
        <p:nvSpPr>
          <p:cNvPr id="11" name="Textplatzhalter 10">
            <a:extLst>
              <a:ext uri="{FF2B5EF4-FFF2-40B4-BE49-F238E27FC236}">
                <a16:creationId xmlns:a16="http://schemas.microsoft.com/office/drawing/2014/main" id="{8720DBF5-7108-4484-85DA-7B6ADC23B324}"/>
              </a:ext>
            </a:extLst>
          </p:cNvPr>
          <p:cNvSpPr>
            <a:spLocks noGrp="1"/>
          </p:cNvSpPr>
          <p:nvPr>
            <p:ph type="body" sz="quarter" idx="13" hasCustomPrompt="1"/>
          </p:nvPr>
        </p:nvSpPr>
        <p:spPr>
          <a:xfrm>
            <a:off x="648000" y="1221794"/>
            <a:ext cx="7953081" cy="396052"/>
          </a:xfrm>
        </p:spPr>
        <p:txBody>
          <a:bodyPr>
            <a:normAutofit/>
          </a:bodyPr>
          <a:lstStyle>
            <a:lvl1pPr marL="0" indent="0">
              <a:buNone/>
              <a:defRPr sz="1400" b="1"/>
            </a:lvl1pPr>
          </a:lstStyle>
          <a:p>
            <a:pPr lvl="0"/>
            <a:r>
              <a:rPr lang="de-DE" sz="1167" dirty="0">
                <a:solidFill>
                  <a:srgbClr val="000000"/>
                </a:solidFill>
              </a:rPr>
              <a:t>Untertitel</a:t>
            </a:r>
            <a:endParaRPr lang="en-US" dirty="0"/>
          </a:p>
        </p:txBody>
      </p:sp>
      <p:sp>
        <p:nvSpPr>
          <p:cNvPr id="7" name="Foliennummernplatzhalter 11">
            <a:extLst>
              <a:ext uri="{FF2B5EF4-FFF2-40B4-BE49-F238E27FC236}">
                <a16:creationId xmlns:a16="http://schemas.microsoft.com/office/drawing/2014/main" id="{96D6B03C-1C71-47B2-9F08-06EEB16774D7}"/>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10043212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78187F0-1597-414C-8CB5-4B97FBD7EE66}"/>
              </a:ext>
            </a:extLst>
          </p:cNvPr>
          <p:cNvSpPr>
            <a:spLocks noGrp="1"/>
          </p:cNvSpPr>
          <p:nvPr>
            <p:ph idx="1" hasCustomPrompt="1"/>
          </p:nvPr>
        </p:nvSpPr>
        <p:spPr>
          <a:xfrm>
            <a:off x="648001" y="1272399"/>
            <a:ext cx="7911799" cy="3695843"/>
          </a:xfrm>
        </p:spPr>
        <p:txBody>
          <a:bodyPr/>
          <a:lstStyle>
            <a:lvl2pPr>
              <a:defRPr sz="1389"/>
            </a:lvl2pPr>
            <a:lvl3pPr>
              <a:defRPr sz="1250"/>
            </a:lvl3pPr>
            <a:lvl4pPr>
              <a:defRPr sz="1250"/>
            </a:lvl4pPr>
            <a:lvl5pPr marL="872943" indent="-185171">
              <a:defRPr sz="972"/>
            </a:lvl5pPr>
          </a:lstStyle>
          <a:p>
            <a:pPr lvl="0"/>
            <a:r>
              <a:rPr lang="en-US" dirty="0"/>
              <a:t>Edit Master text styles</a:t>
            </a:r>
          </a:p>
          <a:p>
            <a:pPr lvl="1"/>
            <a:r>
              <a:rPr lang="en-US" dirty="0"/>
              <a:t>Second level</a:t>
            </a:r>
          </a:p>
          <a:p>
            <a:pPr lvl="2"/>
            <a:r>
              <a:rPr lang="en-US" dirty="0"/>
              <a:t>Third level</a:t>
            </a:r>
          </a:p>
          <a:p>
            <a:pPr lvl="2"/>
            <a:r>
              <a:rPr lang="en-US" dirty="0"/>
              <a:t>Fourth level</a:t>
            </a:r>
          </a:p>
          <a:p>
            <a:pPr lvl="3"/>
            <a:r>
              <a:rPr lang="en-US" dirty="0"/>
              <a:t>Fifth level</a:t>
            </a:r>
            <a:endParaRPr lang="en-AU" dirty="0"/>
          </a:p>
        </p:txBody>
      </p:sp>
      <p:sp>
        <p:nvSpPr>
          <p:cNvPr id="4" name="Title 1">
            <a:extLst>
              <a:ext uri="{FF2B5EF4-FFF2-40B4-BE49-F238E27FC236}">
                <a16:creationId xmlns:a16="http://schemas.microsoft.com/office/drawing/2014/main" id="{4A8FE5B1-857A-4F74-BC93-2B434C346E3D}"/>
              </a:ext>
            </a:extLst>
          </p:cNvPr>
          <p:cNvSpPr>
            <a:spLocks noGrp="1"/>
          </p:cNvSpPr>
          <p:nvPr>
            <p:ph type="title"/>
          </p:nvPr>
        </p:nvSpPr>
        <p:spPr>
          <a:xfrm>
            <a:off x="648000" y="287999"/>
            <a:ext cx="6631640" cy="648000"/>
          </a:xfrm>
        </p:spPr>
        <p:txBody>
          <a:bodyPr/>
          <a:lstStyle>
            <a:lvl1pPr>
              <a:defRPr>
                <a:latin typeface="+mn-lt"/>
              </a:defRPr>
            </a:lvl1pPr>
          </a:lstStyle>
          <a:p>
            <a:r>
              <a:rPr lang="de-DE" dirty="0"/>
              <a:t>Mastertitelformat bearbeiten</a:t>
            </a:r>
            <a:endParaRPr lang="en-US" dirty="0"/>
          </a:p>
        </p:txBody>
      </p:sp>
    </p:spTree>
    <p:extLst>
      <p:ext uri="{BB962C8B-B14F-4D97-AF65-F5344CB8AC3E}">
        <p14:creationId xmlns:p14="http://schemas.microsoft.com/office/powerpoint/2010/main" val="42391963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_subheadin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7D58AA-BE7B-4223-BD84-6FE22DEB64C8}"/>
              </a:ext>
            </a:extLst>
          </p:cNvPr>
          <p:cNvSpPr>
            <a:spLocks noGrp="1"/>
          </p:cNvSpPr>
          <p:nvPr>
            <p:ph sz="half" idx="1"/>
          </p:nvPr>
        </p:nvSpPr>
        <p:spPr>
          <a:xfrm>
            <a:off x="648000" y="1227138"/>
            <a:ext cx="3886200" cy="3883342"/>
          </a:xfrm>
        </p:spPr>
        <p:txBody>
          <a:bodyPr>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4" name="Content Placeholder 3">
            <a:extLst>
              <a:ext uri="{FF2B5EF4-FFF2-40B4-BE49-F238E27FC236}">
                <a16:creationId xmlns:a16="http://schemas.microsoft.com/office/drawing/2014/main" id="{1B4B775D-A963-4EDD-A851-D9DDAD8EF7A9}"/>
              </a:ext>
            </a:extLst>
          </p:cNvPr>
          <p:cNvSpPr>
            <a:spLocks noGrp="1"/>
          </p:cNvSpPr>
          <p:nvPr>
            <p:ph sz="half" idx="2"/>
          </p:nvPr>
        </p:nvSpPr>
        <p:spPr>
          <a:xfrm>
            <a:off x="4691082" y="1227138"/>
            <a:ext cx="3886200" cy="3883342"/>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Text Placeholder 9">
            <a:extLst>
              <a:ext uri="{FF2B5EF4-FFF2-40B4-BE49-F238E27FC236}">
                <a16:creationId xmlns:a16="http://schemas.microsoft.com/office/drawing/2014/main" id="{3EC2145B-8A2C-4935-B990-5B13C5481068}"/>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8" name="Title 1">
            <a:extLst>
              <a:ext uri="{FF2B5EF4-FFF2-40B4-BE49-F238E27FC236}">
                <a16:creationId xmlns:a16="http://schemas.microsoft.com/office/drawing/2014/main" id="{82F3C626-AD4A-44A8-925F-B70E6B6E26E4}"/>
              </a:ext>
            </a:extLst>
          </p:cNvPr>
          <p:cNvSpPr>
            <a:spLocks noGrp="1"/>
          </p:cNvSpPr>
          <p:nvPr>
            <p:ph type="title"/>
          </p:nvPr>
        </p:nvSpPr>
        <p:spPr>
          <a:xfrm>
            <a:off x="648000" y="287999"/>
            <a:ext cx="6631640" cy="438442"/>
          </a:xfrm>
        </p:spPr>
        <p:txBody>
          <a:bodyPr/>
          <a:lstStyle>
            <a:lvl1pPr>
              <a:defRPr>
                <a:latin typeface="+mn-lt"/>
              </a:defRPr>
            </a:lvl1pPr>
          </a:lstStyle>
          <a:p>
            <a:r>
              <a:rPr lang="de-DE" dirty="0"/>
              <a:t>Mastertitelformat bearbeiten</a:t>
            </a:r>
            <a:endParaRPr lang="en-US" dirty="0"/>
          </a:p>
        </p:txBody>
      </p:sp>
    </p:spTree>
    <p:extLst>
      <p:ext uri="{BB962C8B-B14F-4D97-AF65-F5344CB8AC3E}">
        <p14:creationId xmlns:p14="http://schemas.microsoft.com/office/powerpoint/2010/main" val="27108009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_subheadin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78187F0-1597-414C-8CB5-4B97FBD7EE66}"/>
              </a:ext>
            </a:extLst>
          </p:cNvPr>
          <p:cNvSpPr>
            <a:spLocks noGrp="1"/>
          </p:cNvSpPr>
          <p:nvPr>
            <p:ph idx="1"/>
          </p:nvPr>
        </p:nvSpPr>
        <p:spPr/>
        <p:txBody>
          <a:bodyPr/>
          <a:lstStyle>
            <a:lvl2pPr>
              <a:defRPr sz="1389"/>
            </a:lvl2pPr>
            <a:lvl3pPr>
              <a:defRPr sz="1250"/>
            </a:lvl3pPr>
            <a:lvl4pPr>
              <a:defRPr sz="1250"/>
            </a:lvl4pPr>
            <a:lvl5pPr marL="872943" indent="-185171">
              <a:defRPr sz="125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5" name="Text Placeholder 9">
            <a:extLst>
              <a:ext uri="{FF2B5EF4-FFF2-40B4-BE49-F238E27FC236}">
                <a16:creationId xmlns:a16="http://schemas.microsoft.com/office/drawing/2014/main" id="{B004F5C3-4454-4773-BD71-9D32B253AC45}"/>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7" name="Title 1">
            <a:extLst>
              <a:ext uri="{FF2B5EF4-FFF2-40B4-BE49-F238E27FC236}">
                <a16:creationId xmlns:a16="http://schemas.microsoft.com/office/drawing/2014/main" id="{8651E7C4-C652-42D2-8105-275060EADF92}"/>
              </a:ext>
            </a:extLst>
          </p:cNvPr>
          <p:cNvSpPr>
            <a:spLocks noGrp="1"/>
          </p:cNvSpPr>
          <p:nvPr>
            <p:ph type="title"/>
          </p:nvPr>
        </p:nvSpPr>
        <p:spPr>
          <a:xfrm>
            <a:off x="648000" y="287999"/>
            <a:ext cx="6631640" cy="438442"/>
          </a:xfrm>
        </p:spPr>
        <p:txBody>
          <a:bodyPr/>
          <a:lstStyle>
            <a:lvl1pPr>
              <a:defRPr>
                <a:latin typeface="+mn-lt"/>
              </a:defRPr>
            </a:lvl1pPr>
          </a:lstStyle>
          <a:p>
            <a:r>
              <a:rPr lang="de-DE" dirty="0"/>
              <a:t>Mastertitelformat bearbeiten</a:t>
            </a:r>
            <a:endParaRPr lang="en-US" dirty="0"/>
          </a:p>
        </p:txBody>
      </p:sp>
    </p:spTree>
    <p:extLst>
      <p:ext uri="{BB962C8B-B14F-4D97-AF65-F5344CB8AC3E}">
        <p14:creationId xmlns:p14="http://schemas.microsoft.com/office/powerpoint/2010/main" val="30421183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ata61 Divider Slide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DE9022-4E91-4AE1-9B32-52DF7FA0F1BB}"/>
              </a:ext>
            </a:extLst>
          </p:cNvPr>
          <p:cNvSpPr>
            <a:spLocks noGrp="1"/>
          </p:cNvSpPr>
          <p:nvPr>
            <p:ph type="ctrTitle" hasCustomPrompt="1"/>
          </p:nvPr>
        </p:nvSpPr>
        <p:spPr>
          <a:xfrm>
            <a:off x="658669" y="2532263"/>
            <a:ext cx="5052378" cy="1486036"/>
          </a:xfrm>
          <a:prstGeom prst="rect">
            <a:avLst/>
          </a:prstGeom>
        </p:spPr>
        <p:txBody>
          <a:bodyPr anchor="t">
            <a:normAutofit/>
          </a:bodyPr>
          <a:lstStyle>
            <a:lvl1pPr algn="l">
              <a:defRPr sz="3600"/>
            </a:lvl1pPr>
          </a:lstStyle>
          <a:p>
            <a:r>
              <a:rPr lang="en-US" dirty="0"/>
              <a:t>Divider Title </a:t>
            </a:r>
            <a:endParaRPr lang="en-AU" dirty="0"/>
          </a:p>
        </p:txBody>
      </p:sp>
      <p:sp>
        <p:nvSpPr>
          <p:cNvPr id="10" name="Rechteck 9">
            <a:extLst>
              <a:ext uri="{FF2B5EF4-FFF2-40B4-BE49-F238E27FC236}">
                <a16:creationId xmlns:a16="http://schemas.microsoft.com/office/drawing/2014/main" id="{1672F628-EE80-4E51-B88E-558820590E23}"/>
              </a:ext>
            </a:extLst>
          </p:cNvPr>
          <p:cNvSpPr/>
          <p:nvPr userDrawn="1"/>
        </p:nvSpPr>
        <p:spPr bwMode="auto">
          <a:xfrm>
            <a:off x="0" y="2"/>
            <a:ext cx="595309" cy="2275876"/>
          </a:xfrm>
          <a:prstGeom prst="rect">
            <a:avLst/>
          </a:prstGeom>
          <a:solidFill>
            <a:srgbClr val="C50E1F"/>
          </a:solidFill>
          <a:ln>
            <a:noFill/>
          </a:ln>
          <a:effectLst/>
          <a:extLst/>
        </p:spPr>
        <p:txBody>
          <a:bodyPr vert="horz" wrap="square" lIns="91440" tIns="45720" rIns="91440" bIns="45720" numCol="1" rtlCol="0" anchor="ctr" anchorCtr="0" compatLnSpc="1">
            <a:prstTxWarp prst="textNoShape">
              <a:avLst/>
            </a:prstTxWarp>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14" name="Line 8">
            <a:extLst>
              <a:ext uri="{FF2B5EF4-FFF2-40B4-BE49-F238E27FC236}">
                <a16:creationId xmlns:a16="http://schemas.microsoft.com/office/drawing/2014/main" id="{3EDBF35F-9A23-45C4-A334-ECDC5ACAE03E}"/>
              </a:ext>
            </a:extLst>
          </p:cNvPr>
          <p:cNvSpPr>
            <a:spLocks noChangeShapeType="1"/>
          </p:cNvSpPr>
          <p:nvPr userDrawn="1">
            <p:custDataLst>
              <p:tags r:id="rId1"/>
            </p:custDataLst>
          </p:nvPr>
        </p:nvSpPr>
        <p:spPr bwMode="auto">
          <a:xfrm>
            <a:off x="648000" y="2271600"/>
            <a:ext cx="5063046" cy="123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p>
        </p:txBody>
      </p:sp>
    </p:spTree>
    <p:extLst>
      <p:ext uri="{BB962C8B-B14F-4D97-AF65-F5344CB8AC3E}">
        <p14:creationId xmlns:p14="http://schemas.microsoft.com/office/powerpoint/2010/main" val="32727155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n-lt"/>
              </a:defRPr>
            </a:lvl1pPr>
          </a:lstStyle>
          <a:p>
            <a:r>
              <a:rPr lang="de-DE" dirty="0"/>
              <a:t>Mastertitelformat bearbeiten</a:t>
            </a:r>
            <a:endParaRPr lang="en-US" dirty="0"/>
          </a:p>
        </p:txBody>
      </p:sp>
      <p:sp>
        <p:nvSpPr>
          <p:cNvPr id="3" name="Content Placeholder 2"/>
          <p:cNvSpPr>
            <a:spLocks noGrp="1"/>
          </p:cNvSpPr>
          <p:nvPr>
            <p:ph idx="1"/>
          </p:nvPr>
        </p:nvSpPr>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Date Placeholder 3"/>
          <p:cNvSpPr>
            <a:spLocks noGrp="1"/>
          </p:cNvSpPr>
          <p:nvPr>
            <p:ph type="dt" sz="half" idx="10"/>
          </p:nvPr>
        </p:nvSpPr>
        <p:spPr/>
        <p:txBody>
          <a:bodyPr/>
          <a:lstStyle/>
          <a:p>
            <a:fld id="{92C9502F-080B-434D-B6E6-152AABCB560F}" type="datetime5">
              <a:rPr lang="en-US" smtClean="0"/>
              <a:t>12-Aug-21</a:t>
            </a:fld>
            <a:endParaRPr lang="en-US" dirty="0"/>
          </a:p>
        </p:txBody>
      </p:sp>
      <p:sp>
        <p:nvSpPr>
          <p:cNvPr id="5" name="Footer Placeholder 4"/>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7" name="Foliennummernplatzhalter 11">
            <a:extLst>
              <a:ext uri="{FF2B5EF4-FFF2-40B4-BE49-F238E27FC236}">
                <a16:creationId xmlns:a16="http://schemas.microsoft.com/office/drawing/2014/main" id="{D50F91F7-3962-47B6-A740-54D17721F666}"/>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24308667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23888" y="1424782"/>
            <a:ext cx="7886700" cy="2377281"/>
          </a:xfrm>
        </p:spPr>
        <p:txBody>
          <a:bodyPr anchor="b"/>
          <a:lstStyle>
            <a:lvl1pPr>
              <a:defRPr sz="4500"/>
            </a:lvl1pPr>
          </a:lstStyle>
          <a:p>
            <a:r>
              <a:rPr lang="de-DE"/>
              <a:t>Mastertitelformat bearbeiten</a:t>
            </a:r>
            <a:endParaRPr lang="en-US" dirty="0"/>
          </a:p>
        </p:txBody>
      </p:sp>
      <p:sp>
        <p:nvSpPr>
          <p:cNvPr id="3" name="Text Placeholder 2"/>
          <p:cNvSpPr>
            <a:spLocks noGrp="1"/>
          </p:cNvSpPr>
          <p:nvPr>
            <p:ph type="body" idx="1"/>
          </p:nvPr>
        </p:nvSpPr>
        <p:spPr>
          <a:xfrm>
            <a:off x="623888" y="3824553"/>
            <a:ext cx="7886700" cy="1250156"/>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p>
            <a:fld id="{31F62470-86A5-4195-80DB-B5C3FDDF80F3}" type="datetime5">
              <a:rPr lang="en-US" smtClean="0"/>
              <a:t>12-Aug-21</a:t>
            </a:fld>
            <a:endParaRPr lang="en-US" dirty="0"/>
          </a:p>
        </p:txBody>
      </p:sp>
      <p:sp>
        <p:nvSpPr>
          <p:cNvPr id="5" name="Footer Placeholder 4"/>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7" name="Foliennummernplatzhalter 11">
            <a:extLst>
              <a:ext uri="{FF2B5EF4-FFF2-40B4-BE49-F238E27FC236}">
                <a16:creationId xmlns:a16="http://schemas.microsoft.com/office/drawing/2014/main" id="{A145DF43-3AFB-4B08-8277-9F0BD598F4BE}"/>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6051739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sz="half" idx="1"/>
          </p:nvPr>
        </p:nvSpPr>
        <p:spPr>
          <a:xfrm>
            <a:off x="628650" y="1521354"/>
            <a:ext cx="3886200" cy="362611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4629150" y="1521354"/>
            <a:ext cx="3886200" cy="362611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fld id="{9D2726B2-D786-49F1-B99A-EF1C103B31C0}" type="datetime5">
              <a:rPr lang="en-US" smtClean="0"/>
              <a:t>12-Aug-21</a:t>
            </a:fld>
            <a:endParaRPr lang="en-US" dirty="0"/>
          </a:p>
        </p:txBody>
      </p:sp>
      <p:sp>
        <p:nvSpPr>
          <p:cNvPr id="6" name="Footer Placeholder 5"/>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8" name="Foliennummernplatzhalter 11">
            <a:extLst>
              <a:ext uri="{FF2B5EF4-FFF2-40B4-BE49-F238E27FC236}">
                <a16:creationId xmlns:a16="http://schemas.microsoft.com/office/drawing/2014/main" id="{049CFC74-99D6-4F22-8542-E70D329B6052}"/>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4092117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629841" y="304271"/>
            <a:ext cx="7886700" cy="1104636"/>
          </a:xfrm>
        </p:spPr>
        <p:txBody>
          <a:bodyPr/>
          <a:lstStyle/>
          <a:p>
            <a:r>
              <a:rPr lang="de-DE"/>
              <a:t>Mastertitelformat bearbeiten</a:t>
            </a:r>
            <a:endParaRPr lang="en-US" dirty="0"/>
          </a:p>
        </p:txBody>
      </p:sp>
      <p:sp>
        <p:nvSpPr>
          <p:cNvPr id="3" name="Text Placeholder 2"/>
          <p:cNvSpPr>
            <a:spLocks noGrp="1"/>
          </p:cNvSpPr>
          <p:nvPr>
            <p:ph type="body" idx="1"/>
          </p:nvPr>
        </p:nvSpPr>
        <p:spPr>
          <a:xfrm>
            <a:off x="629842" y="1400969"/>
            <a:ext cx="3868340" cy="686593"/>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e-DE"/>
              <a:t>Mastertextformat bearbeiten</a:t>
            </a:r>
          </a:p>
        </p:txBody>
      </p:sp>
      <p:sp>
        <p:nvSpPr>
          <p:cNvPr id="4" name="Content Placeholder 3"/>
          <p:cNvSpPr>
            <a:spLocks noGrp="1"/>
          </p:cNvSpPr>
          <p:nvPr>
            <p:ph sz="half" idx="2"/>
          </p:nvPr>
        </p:nvSpPr>
        <p:spPr>
          <a:xfrm>
            <a:off x="629842" y="2087563"/>
            <a:ext cx="3868340" cy="307049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4"/>
          <p:cNvSpPr>
            <a:spLocks noGrp="1"/>
          </p:cNvSpPr>
          <p:nvPr>
            <p:ph type="body" sz="quarter" idx="3"/>
          </p:nvPr>
        </p:nvSpPr>
        <p:spPr>
          <a:xfrm>
            <a:off x="4629150" y="1400969"/>
            <a:ext cx="3887391" cy="686593"/>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e-DE"/>
              <a:t>Mastertextformat bearbeiten</a:t>
            </a:r>
          </a:p>
        </p:txBody>
      </p:sp>
      <p:sp>
        <p:nvSpPr>
          <p:cNvPr id="6" name="Content Placeholder 5"/>
          <p:cNvSpPr>
            <a:spLocks noGrp="1"/>
          </p:cNvSpPr>
          <p:nvPr>
            <p:ph sz="quarter" idx="4"/>
          </p:nvPr>
        </p:nvSpPr>
        <p:spPr>
          <a:xfrm>
            <a:off x="4629150" y="2087563"/>
            <a:ext cx="3887391" cy="307049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e Placeholder 6"/>
          <p:cNvSpPr>
            <a:spLocks noGrp="1"/>
          </p:cNvSpPr>
          <p:nvPr>
            <p:ph type="dt" sz="half" idx="10"/>
          </p:nvPr>
        </p:nvSpPr>
        <p:spPr/>
        <p:txBody>
          <a:bodyPr/>
          <a:lstStyle/>
          <a:p>
            <a:fld id="{EF512EB0-E6BF-41F8-B6E1-CFC97764D9CE}" type="datetime5">
              <a:rPr lang="en-US" smtClean="0"/>
              <a:t>12-Aug-21</a:t>
            </a:fld>
            <a:endParaRPr lang="en-US" dirty="0"/>
          </a:p>
        </p:txBody>
      </p:sp>
      <p:sp>
        <p:nvSpPr>
          <p:cNvPr id="8" name="Footer Placeholder 7"/>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10" name="Foliennummernplatzhalter 11">
            <a:extLst>
              <a:ext uri="{FF2B5EF4-FFF2-40B4-BE49-F238E27FC236}">
                <a16:creationId xmlns:a16="http://schemas.microsoft.com/office/drawing/2014/main" id="{B1AE8EB4-0F6C-41D4-B998-3226084E87A8}"/>
              </a:ext>
            </a:extLst>
          </p:cNvPr>
          <p:cNvSpPr>
            <a:spLocks noGrp="1"/>
          </p:cNvSpPr>
          <p:nvPr>
            <p:ph type="sldNum" sz="quarter" idx="12"/>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34284290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astertitelformat bearbeiten</a:t>
            </a:r>
            <a:endParaRPr lang="en-US" dirty="0"/>
          </a:p>
        </p:txBody>
      </p:sp>
      <p:sp>
        <p:nvSpPr>
          <p:cNvPr id="3" name="Date Placeholder 2"/>
          <p:cNvSpPr>
            <a:spLocks noGrp="1"/>
          </p:cNvSpPr>
          <p:nvPr>
            <p:ph type="dt" sz="half" idx="10"/>
          </p:nvPr>
        </p:nvSpPr>
        <p:spPr/>
        <p:txBody>
          <a:bodyPr/>
          <a:lstStyle/>
          <a:p>
            <a:fld id="{543FFAA5-3BFD-4C96-B21F-6F845E82C84D}" type="datetime5">
              <a:rPr lang="en-US" smtClean="0"/>
              <a:t>12-Aug-21</a:t>
            </a:fld>
            <a:endParaRPr lang="en-US" dirty="0"/>
          </a:p>
        </p:txBody>
      </p:sp>
      <p:sp>
        <p:nvSpPr>
          <p:cNvPr id="4" name="Footer Placeholder 3"/>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6" name="Foliennummernplatzhalter 11">
            <a:extLst>
              <a:ext uri="{FF2B5EF4-FFF2-40B4-BE49-F238E27FC236}">
                <a16:creationId xmlns:a16="http://schemas.microsoft.com/office/drawing/2014/main" id="{7248DA4B-7E4B-4F1F-B682-7B8AA7DA170F}"/>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41487823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F8FFE0-C8CD-42A1-8DD9-C76BA052DCA5}" type="datetime5">
              <a:rPr lang="en-US" smtClean="0"/>
              <a:t>12-Aug-21</a:t>
            </a:fld>
            <a:endParaRPr lang="en-US" dirty="0"/>
          </a:p>
        </p:txBody>
      </p:sp>
      <p:sp>
        <p:nvSpPr>
          <p:cNvPr id="3" name="Footer Placeholder 2"/>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5" name="Foliennummernplatzhalter 11">
            <a:extLst>
              <a:ext uri="{FF2B5EF4-FFF2-40B4-BE49-F238E27FC236}">
                <a16:creationId xmlns:a16="http://schemas.microsoft.com/office/drawing/2014/main" id="{7EB115A6-CF30-4E9B-B360-6C0095A07642}"/>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3836974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heading Only">
    <p:spTree>
      <p:nvGrpSpPr>
        <p:cNvPr id="1" name=""/>
        <p:cNvGrpSpPr/>
        <p:nvPr/>
      </p:nvGrpSpPr>
      <p:grpSpPr>
        <a:xfrm>
          <a:off x="0" y="0"/>
          <a:ext cx="0" cy="0"/>
          <a:chOff x="0" y="0"/>
          <a:chExt cx="0" cy="0"/>
        </a:xfrm>
      </p:grpSpPr>
      <p:sp>
        <p:nvSpPr>
          <p:cNvPr id="6" name="Text Placeholder 9">
            <a:extLst>
              <a:ext uri="{FF2B5EF4-FFF2-40B4-BE49-F238E27FC236}">
                <a16:creationId xmlns:a16="http://schemas.microsoft.com/office/drawing/2014/main" id="{5E1F5F21-E954-4847-846B-045230515B92}"/>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3" name="Footer Placeholder 2"/>
          <p:cNvSpPr>
            <a:spLocks noGrp="1"/>
          </p:cNvSpPr>
          <p:nvPr>
            <p:ph type="ftr" sz="quarter" idx="11"/>
          </p:nvPr>
        </p:nvSpPr>
        <p:spPr>
          <a:xfrm>
            <a:off x="3028950" y="5296959"/>
            <a:ext cx="3086100" cy="304271"/>
          </a:xfrm>
          <a:prstGeom prst="rect">
            <a:avLst/>
          </a:prstGeom>
        </p:spPr>
        <p:txBody>
          <a:bodyPr/>
          <a:lstStyle/>
          <a:p>
            <a:r>
              <a:rPr lang="en-AU"/>
              <a:t> </a:t>
            </a:r>
            <a:endParaRPr lang="en-AU" dirty="0"/>
          </a:p>
        </p:txBody>
      </p:sp>
      <p:sp>
        <p:nvSpPr>
          <p:cNvPr id="4" name="Slide Number Placeholder 3"/>
          <p:cNvSpPr>
            <a:spLocks noGrp="1"/>
          </p:cNvSpPr>
          <p:nvPr>
            <p:ph type="sldNum" sz="quarter" idx="12"/>
          </p:nvPr>
        </p:nvSpPr>
        <p:spPr>
          <a:xfrm>
            <a:off x="6510600" y="5368968"/>
            <a:ext cx="2057400" cy="224836"/>
          </a:xfrm>
          <a:prstGeom prst="rect">
            <a:avLst/>
          </a:prstGeom>
        </p:spPr>
        <p:txBody>
          <a:bodyPr/>
          <a:lstStyle/>
          <a:p>
            <a:fld id="{FFF7CBAA-22EA-41CE-9725-C57ED0CEBC27}" type="slidenum">
              <a:rPr lang="en-AU" smtClean="0"/>
              <a:pPr/>
              <a:t>‹#›</a:t>
            </a:fld>
            <a:r>
              <a:rPr lang="en-AU"/>
              <a:t>  |</a:t>
            </a:r>
            <a:endParaRPr lang="en-AU" dirty="0"/>
          </a:p>
        </p:txBody>
      </p:sp>
      <p:sp>
        <p:nvSpPr>
          <p:cNvPr id="8" name="Title 1">
            <a:extLst>
              <a:ext uri="{FF2B5EF4-FFF2-40B4-BE49-F238E27FC236}">
                <a16:creationId xmlns:a16="http://schemas.microsoft.com/office/drawing/2014/main" id="{2952F682-67C7-4415-819A-A96065C12C64}"/>
              </a:ext>
            </a:extLst>
          </p:cNvPr>
          <p:cNvSpPr>
            <a:spLocks noGrp="1"/>
          </p:cNvSpPr>
          <p:nvPr>
            <p:ph type="title"/>
          </p:nvPr>
        </p:nvSpPr>
        <p:spPr>
          <a:xfrm>
            <a:off x="648000" y="287999"/>
            <a:ext cx="6631640" cy="438442"/>
          </a:xfrm>
        </p:spPr>
        <p:txBody>
          <a:bodyPr/>
          <a:lstStyle>
            <a:lvl1pPr>
              <a:defRPr>
                <a:latin typeface="+mn-lt"/>
              </a:defRPr>
            </a:lvl1pPr>
          </a:lstStyle>
          <a:p>
            <a:r>
              <a:rPr lang="de-DE" dirty="0"/>
              <a:t>Mastertitelformat bearbeiten</a:t>
            </a:r>
            <a:endParaRPr lang="en-US" dirty="0"/>
          </a:p>
        </p:txBody>
      </p:sp>
    </p:spTree>
    <p:extLst>
      <p:ext uri="{BB962C8B-B14F-4D97-AF65-F5344CB8AC3E}">
        <p14:creationId xmlns:p14="http://schemas.microsoft.com/office/powerpoint/2010/main" val="15105649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8000" y="287999"/>
            <a:ext cx="7920000" cy="648000"/>
          </a:xfrm>
          <a:prstGeom prst="rect">
            <a:avLst/>
          </a:prstGeom>
        </p:spPr>
        <p:txBody>
          <a:bodyPr vert="horz" lIns="91440" tIns="45720" rIns="91440" bIns="45720" rtlCol="0" anchor="ctr">
            <a:normAutofit/>
          </a:bodyPr>
          <a:lstStyle/>
          <a:p>
            <a:r>
              <a:rPr lang="de-DE" dirty="0"/>
              <a:t>Mastertitelformat bearbeiten</a:t>
            </a:r>
            <a:endParaRPr lang="en-US" dirty="0"/>
          </a:p>
        </p:txBody>
      </p:sp>
      <p:sp>
        <p:nvSpPr>
          <p:cNvPr id="3" name="Text Placeholder 2"/>
          <p:cNvSpPr>
            <a:spLocks noGrp="1"/>
          </p:cNvSpPr>
          <p:nvPr>
            <p:ph type="body" idx="1"/>
          </p:nvPr>
        </p:nvSpPr>
        <p:spPr>
          <a:xfrm>
            <a:off x="648000" y="1295999"/>
            <a:ext cx="7920000" cy="3845917"/>
          </a:xfrm>
          <a:prstGeom prst="rect">
            <a:avLst/>
          </a:prstGeom>
        </p:spPr>
        <p:txBody>
          <a:bodyPr vert="horz" lIns="91440" tIns="45720" rIns="91440" bIns="45720" rtlCol="0">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Date Placeholder 3"/>
          <p:cNvSpPr>
            <a:spLocks noGrp="1"/>
          </p:cNvSpPr>
          <p:nvPr>
            <p:ph type="dt" sz="half" idx="2"/>
          </p:nvPr>
        </p:nvSpPr>
        <p:spPr>
          <a:xfrm>
            <a:off x="648000" y="5368406"/>
            <a:ext cx="2057400" cy="224836"/>
          </a:xfrm>
          <a:prstGeom prst="rect">
            <a:avLst/>
          </a:prstGeom>
        </p:spPr>
        <p:txBody>
          <a:bodyPr vert="horz" lIns="91440" tIns="45720" rIns="91440" bIns="45720" rtlCol="0" anchor="ctr"/>
          <a:lstStyle>
            <a:lvl1pPr algn="l">
              <a:defRPr sz="1000">
                <a:solidFill>
                  <a:schemeClr val="tx1">
                    <a:tint val="75000"/>
                  </a:schemeClr>
                </a:solidFill>
                <a:latin typeface="+mn-lt"/>
              </a:defRPr>
            </a:lvl1pPr>
          </a:lstStyle>
          <a:p>
            <a:fld id="{CDB04BBE-FDA9-44A1-8AD3-8FE5383857F3}" type="datetime5">
              <a:rPr lang="en-US" smtClean="0"/>
              <a:t>12-Aug-21</a:t>
            </a:fld>
            <a:endParaRPr lang="en-US" dirty="0"/>
          </a:p>
        </p:txBody>
      </p:sp>
      <p:sp>
        <p:nvSpPr>
          <p:cNvPr id="5" name="Footer Placeholder 4"/>
          <p:cNvSpPr>
            <a:spLocks noGrp="1"/>
          </p:cNvSpPr>
          <p:nvPr>
            <p:ph type="ftr" sz="quarter" idx="3"/>
          </p:nvPr>
        </p:nvSpPr>
        <p:spPr>
          <a:xfrm>
            <a:off x="3028950" y="5368406"/>
            <a:ext cx="3086100" cy="224836"/>
          </a:xfrm>
          <a:prstGeom prst="rect">
            <a:avLst/>
          </a:prstGeom>
        </p:spPr>
        <p:txBody>
          <a:bodyPr vert="horz" lIns="91440" tIns="45720" rIns="91440" bIns="45720" rtlCol="0" anchor="ctr"/>
          <a:lstStyle>
            <a:lvl1pPr algn="ctr">
              <a:defRPr sz="1000">
                <a:solidFill>
                  <a:schemeClr val="tx1">
                    <a:tint val="75000"/>
                  </a:schemeClr>
                </a:solidFill>
                <a:latin typeface="+mn-lt"/>
              </a:defRPr>
            </a:lvl1pPr>
          </a:lstStyle>
          <a:p>
            <a:r>
              <a:rPr lang="de-DE" altLang="de-DE"/>
              <a:t> </a:t>
            </a:r>
            <a:endParaRPr lang="de-DE" altLang="de-DE" dirty="0"/>
          </a:p>
        </p:txBody>
      </p:sp>
      <p:sp>
        <p:nvSpPr>
          <p:cNvPr id="7" name="Rechteck 6">
            <a:extLst>
              <a:ext uri="{FF2B5EF4-FFF2-40B4-BE49-F238E27FC236}">
                <a16:creationId xmlns:a16="http://schemas.microsoft.com/office/drawing/2014/main" id="{9D384E0D-9AC9-41DC-849D-1CC5736F586D}"/>
              </a:ext>
            </a:extLst>
          </p:cNvPr>
          <p:cNvSpPr/>
          <p:nvPr userDrawn="1"/>
        </p:nvSpPr>
        <p:spPr bwMode="auto">
          <a:xfrm>
            <a:off x="0" y="288000"/>
            <a:ext cx="594000" cy="792085"/>
          </a:xfrm>
          <a:prstGeom prst="rect">
            <a:avLst/>
          </a:prstGeom>
          <a:solidFill>
            <a:srgbClr val="C50E1F"/>
          </a:solidFill>
          <a:ln>
            <a:noFill/>
          </a:ln>
          <a:effectLst/>
          <a:extLst/>
        </p:spPr>
        <p:txBody>
          <a:bodyPr vert="horz" wrap="square" lIns="76200" tIns="38100" rIns="76200" bIns="38100" numCol="1" rtlCol="0" anchor="ctr" anchorCtr="0" compatLnSpc="1">
            <a:prstTxWarp prst="textNoShape">
              <a:avLst/>
            </a:prstTxWarp>
          </a:bodyPr>
          <a:lstStyle/>
          <a:p>
            <a:pPr marL="0" marR="0" indent="0" algn="ctr" defTabSz="761940" rtl="0" eaLnBrk="1" fontAlgn="base" latinLnBrk="0" hangingPunct="1">
              <a:lnSpc>
                <a:spcPct val="100000"/>
              </a:lnSpc>
              <a:spcBef>
                <a:spcPct val="0"/>
              </a:spcBef>
              <a:spcAft>
                <a:spcPct val="0"/>
              </a:spcAft>
              <a:buClrTx/>
              <a:buSzTx/>
              <a:buFontTx/>
              <a:buNone/>
              <a:tabLst/>
            </a:pPr>
            <a:endParaRPr kumimoji="0" lang="de-DE" sz="1000" b="0" i="0" u="none" strike="noStrike" cap="none" normalizeH="0" baseline="0">
              <a:ln>
                <a:noFill/>
              </a:ln>
              <a:solidFill>
                <a:schemeClr val="tx1"/>
              </a:solidFill>
              <a:effectLst/>
              <a:latin typeface="+mn-lt"/>
            </a:endParaRPr>
          </a:p>
        </p:txBody>
      </p:sp>
      <p:sp>
        <p:nvSpPr>
          <p:cNvPr id="9" name="Line 8">
            <a:extLst>
              <a:ext uri="{FF2B5EF4-FFF2-40B4-BE49-F238E27FC236}">
                <a16:creationId xmlns:a16="http://schemas.microsoft.com/office/drawing/2014/main" id="{CCDD4F84-4026-4CAF-BBF5-957748266100}"/>
              </a:ext>
            </a:extLst>
          </p:cNvPr>
          <p:cNvSpPr>
            <a:spLocks noChangeShapeType="1"/>
          </p:cNvSpPr>
          <p:nvPr userDrawn="1">
            <p:custDataLst>
              <p:tags r:id="rId15"/>
            </p:custDataLst>
          </p:nvPr>
        </p:nvSpPr>
        <p:spPr bwMode="auto">
          <a:xfrm>
            <a:off x="648000" y="1080000"/>
            <a:ext cx="79200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latin typeface="+mn-lt"/>
            </a:endParaRPr>
          </a:p>
        </p:txBody>
      </p:sp>
      <p:sp>
        <p:nvSpPr>
          <p:cNvPr id="11" name="Line 8">
            <a:extLst>
              <a:ext uri="{FF2B5EF4-FFF2-40B4-BE49-F238E27FC236}">
                <a16:creationId xmlns:a16="http://schemas.microsoft.com/office/drawing/2014/main" id="{2C204FF9-462A-4CC2-8819-8E1D4A5FE63F}"/>
              </a:ext>
            </a:extLst>
          </p:cNvPr>
          <p:cNvSpPr>
            <a:spLocks noChangeShapeType="1"/>
          </p:cNvSpPr>
          <p:nvPr userDrawn="1">
            <p:custDataLst>
              <p:tags r:id="rId16"/>
            </p:custDataLst>
          </p:nvPr>
        </p:nvSpPr>
        <p:spPr bwMode="auto">
          <a:xfrm>
            <a:off x="648000" y="5255446"/>
            <a:ext cx="79200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latin typeface="+mn-lt"/>
            </a:endParaRPr>
          </a:p>
        </p:txBody>
      </p:sp>
      <p:sp>
        <p:nvSpPr>
          <p:cNvPr id="12" name="Foliennummernplatzhalter 11">
            <a:extLst>
              <a:ext uri="{FF2B5EF4-FFF2-40B4-BE49-F238E27FC236}">
                <a16:creationId xmlns:a16="http://schemas.microsoft.com/office/drawing/2014/main" id="{4581D833-1798-4FBC-87E5-53CEAD642FEE}"/>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2961808720"/>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35" r:id="rId3"/>
    <p:sldLayoutId id="2147483836" r:id="rId4"/>
    <p:sldLayoutId id="2147483837" r:id="rId5"/>
    <p:sldLayoutId id="2147483838" r:id="rId6"/>
    <p:sldLayoutId id="2147483839" r:id="rId7"/>
    <p:sldLayoutId id="2147483840" r:id="rId8"/>
    <p:sldLayoutId id="2147483841" r:id="rId9"/>
    <p:sldLayoutId id="2147483842" r:id="rId10"/>
    <p:sldLayoutId id="2147483843" r:id="rId11"/>
    <p:sldLayoutId id="2147483844" r:id="rId12"/>
    <p:sldLayoutId id="2147483845" r:id="rId13"/>
  </p:sldLayoutIdLst>
  <p:hf hdr="0" ftr="0"/>
  <p:txStyles>
    <p:titleStyle>
      <a:lvl1pPr algn="l" defTabSz="685800" rtl="0" eaLnBrk="1" latinLnBrk="0" hangingPunct="1">
        <a:lnSpc>
          <a:spcPct val="90000"/>
        </a:lnSpc>
        <a:spcBef>
          <a:spcPct val="0"/>
        </a:spcBef>
        <a:buNone/>
        <a:defRPr sz="3300" kern="1200">
          <a:solidFill>
            <a:schemeClr val="tx1"/>
          </a:solidFill>
          <a:latin typeface="+mn-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5.svg"/><Relationship Id="rId7" Type="http://schemas.openxmlformats.org/officeDocument/2006/relationships/image" Target="../media/image9.svg"/><Relationship Id="rId2" Type="http://schemas.openxmlformats.org/officeDocument/2006/relationships/image" Target="../media/image4.png"/><Relationship Id="rId1" Type="http://schemas.openxmlformats.org/officeDocument/2006/relationships/slideLayout" Target="../slideLayouts/slideLayout3.xml"/><Relationship Id="rId6" Type="http://schemas.openxmlformats.org/officeDocument/2006/relationships/image" Target="../media/image8.png"/><Relationship Id="rId5" Type="http://schemas.openxmlformats.org/officeDocument/2006/relationships/image" Target="../media/image7.svg"/><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8.xml"/><Relationship Id="rId1" Type="http://schemas.openxmlformats.org/officeDocument/2006/relationships/slideLayout" Target="../slideLayouts/slideLayout1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0">
            <a:extLst>
              <a:ext uri="{FF2B5EF4-FFF2-40B4-BE49-F238E27FC236}">
                <a16:creationId xmlns:a16="http://schemas.microsoft.com/office/drawing/2014/main" id="{15CF5EB8-885B-4B45-8DCA-F03A2CD9F06E}"/>
              </a:ext>
            </a:extLst>
          </p:cNvPr>
          <p:cNvSpPr>
            <a:spLocks noGrp="1"/>
          </p:cNvSpPr>
          <p:nvPr>
            <p:ph type="ctrTitle"/>
          </p:nvPr>
        </p:nvSpPr>
        <p:spPr/>
        <p:txBody>
          <a:bodyPr>
            <a:noAutofit/>
          </a:bodyPr>
          <a:lstStyle/>
          <a:p>
            <a:r>
              <a:rPr lang="en-AU" sz="3200" dirty="0"/>
              <a:t>Design Patterns (Overview)</a:t>
            </a:r>
            <a:endParaRPr lang="en-AU" sz="3000" noProof="0" dirty="0"/>
          </a:p>
        </p:txBody>
      </p:sp>
      <p:sp>
        <p:nvSpPr>
          <p:cNvPr id="7" name="Rectangle 3">
            <a:extLst>
              <a:ext uri="{FF2B5EF4-FFF2-40B4-BE49-F238E27FC236}">
                <a16:creationId xmlns:a16="http://schemas.microsoft.com/office/drawing/2014/main" id="{A6FEA553-1EB6-46EF-96AD-5E6A42E2BE00}"/>
              </a:ext>
            </a:extLst>
          </p:cNvPr>
          <p:cNvSpPr txBox="1">
            <a:spLocks noGrp="1" noChangeArrowheads="1"/>
          </p:cNvSpPr>
          <p:nvPr>
            <p:ph type="subTitle" idx="1"/>
          </p:nvPr>
        </p:nvSpPr>
        <p:spPr>
          <a:xfrm>
            <a:off x="647700" y="4502150"/>
            <a:ext cx="8035925" cy="658813"/>
          </a:xfrm>
          <a:prstGeom prst="rect">
            <a:avLst/>
          </a:prstGeom>
        </p:spPr>
        <p:txBody>
          <a:bodyPr>
            <a:normAutofit fontScale="92500"/>
          </a:bodyPr>
          <a:lstStyle>
            <a:lvl1pPr marL="342900" indent="-342900" algn="l" rtl="0" eaLnBrk="1" fontAlgn="base" hangingPunct="1">
              <a:lnSpc>
                <a:spcPts val="2200"/>
              </a:lnSpc>
              <a:spcBef>
                <a:spcPct val="0"/>
              </a:spcBef>
              <a:spcAft>
                <a:spcPct val="0"/>
              </a:spcAft>
              <a:defRPr sz="1400" kern="1200">
                <a:solidFill>
                  <a:srgbClr val="000000"/>
                </a:solidFill>
                <a:latin typeface="+mn-lt"/>
                <a:ea typeface="+mn-ea"/>
                <a:cs typeface="+mn-cs"/>
              </a:defRPr>
            </a:lvl1pPr>
            <a:lvl2pPr marL="784225" indent="-244475" algn="l" rtl="0" eaLnBrk="1" fontAlgn="base" hangingPunct="1">
              <a:spcBef>
                <a:spcPct val="20000"/>
              </a:spcBef>
              <a:spcAft>
                <a:spcPct val="0"/>
              </a:spcAft>
              <a:buFont typeface="Arial" panose="020B0604020202020204" pitchFamily="34" charset="0"/>
              <a:buChar char="–"/>
              <a:defRPr sz="1400" kern="1200">
                <a:solidFill>
                  <a:srgbClr val="000000"/>
                </a:solidFill>
                <a:latin typeface="+mn-lt"/>
                <a:ea typeface="+mn-ea"/>
                <a:cs typeface="+mn-cs"/>
              </a:defRPr>
            </a:lvl2pPr>
            <a:lvl3pPr marL="1192213" indent="-228600" algn="l" rtl="0" eaLnBrk="1" fontAlgn="base" hangingPunct="1">
              <a:spcBef>
                <a:spcPct val="20000"/>
              </a:spcBef>
              <a:spcAft>
                <a:spcPct val="0"/>
              </a:spcAft>
              <a:buChar char="•"/>
              <a:defRPr sz="1400" kern="1200">
                <a:solidFill>
                  <a:schemeClr val="tx1"/>
                </a:solidFill>
                <a:latin typeface="+mn-lt"/>
                <a:ea typeface="+mn-ea"/>
                <a:cs typeface="+mn-cs"/>
              </a:defRPr>
            </a:lvl3pPr>
            <a:lvl4pPr marL="1600200" indent="-228600" algn="l" rtl="0" eaLnBrk="1" fontAlgn="base" hangingPunct="1">
              <a:spcBef>
                <a:spcPct val="20000"/>
              </a:spcBef>
              <a:spcAft>
                <a:spcPct val="0"/>
              </a:spcAft>
              <a:buChar char="–"/>
              <a:defRPr sz="1400" kern="1200">
                <a:solidFill>
                  <a:schemeClr val="tx1"/>
                </a:solidFill>
                <a:latin typeface="+mn-lt"/>
                <a:ea typeface="+mn-ea"/>
                <a:cs typeface="+mn-cs"/>
              </a:defRPr>
            </a:lvl4pPr>
            <a:lvl5pPr marL="2057400" indent="-228600" algn="l" rtl="0" eaLnBrk="1" fontAlgn="base" hangingPunct="1">
              <a:spcBef>
                <a:spcPct val="20000"/>
              </a:spcBef>
              <a:spcAft>
                <a:spcPct val="0"/>
              </a:spcAft>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sz="1600" dirty="0">
                <a:solidFill>
                  <a:schemeClr val="tx1">
                    <a:lumMod val="65000"/>
                    <a:lumOff val="35000"/>
                  </a:schemeClr>
                </a:solidFill>
              </a:rPr>
              <a:t>Source of most materials: </a:t>
            </a:r>
          </a:p>
          <a:p>
            <a:pPr marL="0" indent="0"/>
            <a:r>
              <a:rPr lang="en-US" sz="1600" dirty="0">
                <a:solidFill>
                  <a:schemeClr val="tx1">
                    <a:lumMod val="65000"/>
                    <a:lumOff val="35000"/>
                  </a:schemeClr>
                </a:solidFill>
              </a:rPr>
              <a:t>Xiwei Xu, Ingo Weber, and Mark Staples. </a:t>
            </a:r>
            <a:r>
              <a:rPr lang="en-US" sz="1600" i="1" dirty="0">
                <a:solidFill>
                  <a:schemeClr val="tx1">
                    <a:lumMod val="65000"/>
                    <a:lumOff val="35000"/>
                  </a:schemeClr>
                </a:solidFill>
              </a:rPr>
              <a:t>Architecture for Blockchain Applications</a:t>
            </a:r>
            <a:r>
              <a:rPr lang="en-US" sz="1600" dirty="0">
                <a:solidFill>
                  <a:schemeClr val="tx1">
                    <a:lumMod val="65000"/>
                    <a:lumOff val="35000"/>
                  </a:schemeClr>
                </a:solidFill>
              </a:rPr>
              <a:t>. Springer, 2019</a:t>
            </a:r>
            <a:endParaRPr lang="en-US" altLang="de-DE" sz="1600" noProof="0" dirty="0">
              <a:solidFill>
                <a:schemeClr val="tx1">
                  <a:lumMod val="65000"/>
                  <a:lumOff val="35000"/>
                </a:schemeClr>
              </a:solidFill>
            </a:endParaRPr>
          </a:p>
        </p:txBody>
      </p:sp>
    </p:spTree>
    <p:extLst>
      <p:ext uri="{BB962C8B-B14F-4D97-AF65-F5344CB8AC3E}">
        <p14:creationId xmlns:p14="http://schemas.microsoft.com/office/powerpoint/2010/main" val="21937014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AU" dirty="0"/>
              <a:t>Pattern Collection (Chapter 7)</a:t>
            </a:r>
          </a:p>
        </p:txBody>
      </p:sp>
      <p:graphicFrame>
        <p:nvGraphicFramePr>
          <p:cNvPr id="4" name="Diagram 3"/>
          <p:cNvGraphicFramePr/>
          <p:nvPr>
            <p:extLst/>
          </p:nvPr>
        </p:nvGraphicFramePr>
        <p:xfrm>
          <a:off x="37785" y="1136381"/>
          <a:ext cx="9284623" cy="407040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13" name="Straight Connector 12"/>
          <p:cNvCxnSpPr/>
          <p:nvPr/>
        </p:nvCxnSpPr>
        <p:spPr>
          <a:xfrm flipV="1">
            <a:off x="347521" y="4239025"/>
            <a:ext cx="2267837" cy="439"/>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p:nvCxnSpPr>
        <p:spPr>
          <a:xfrm>
            <a:off x="2628852" y="3136904"/>
            <a:ext cx="1470867" cy="6"/>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p:nvCxnSpPr>
        <p:spPr>
          <a:xfrm>
            <a:off x="4089297" y="2460804"/>
            <a:ext cx="1298001" cy="0"/>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p:nvCxnSpPr>
        <p:spPr>
          <a:xfrm>
            <a:off x="5373373" y="1771817"/>
            <a:ext cx="1487768" cy="4"/>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a:cxnSpLocks/>
          </p:cNvCxnSpPr>
          <p:nvPr/>
        </p:nvCxnSpPr>
        <p:spPr>
          <a:xfrm>
            <a:off x="6828979" y="2460886"/>
            <a:ext cx="1646573" cy="9510"/>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p:nvCxnSpPr>
        <p:spPr>
          <a:xfrm>
            <a:off x="2615565" y="3124772"/>
            <a:ext cx="0" cy="1109945"/>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p:nvCxnSpPr>
        <p:spPr>
          <a:xfrm flipH="1">
            <a:off x="4093451" y="2445100"/>
            <a:ext cx="1" cy="708666"/>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p:nvCxnSpPr>
        <p:spPr>
          <a:xfrm flipH="1">
            <a:off x="5377970" y="1753164"/>
            <a:ext cx="1" cy="708666"/>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p:nvCxnSpPr>
        <p:spPr>
          <a:xfrm flipH="1">
            <a:off x="6848545" y="1764973"/>
            <a:ext cx="2287" cy="698579"/>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sp>
        <p:nvSpPr>
          <p:cNvPr id="25612" name="TextBox 25611"/>
          <p:cNvSpPr txBox="1"/>
          <p:nvPr/>
        </p:nvSpPr>
        <p:spPr>
          <a:xfrm>
            <a:off x="436394" y="3774987"/>
            <a:ext cx="986641" cy="416396"/>
          </a:xfrm>
          <a:prstGeom prst="rect">
            <a:avLst/>
          </a:prstGeom>
          <a:noFill/>
        </p:spPr>
        <p:txBody>
          <a:bodyPr wrap="square" rtlCol="0">
            <a:spAutoFit/>
          </a:bodyPr>
          <a:lstStyle/>
          <a:p>
            <a:r>
              <a:rPr lang="en-US" sz="1053" dirty="0"/>
              <a:t>Mixed on and off-chain</a:t>
            </a:r>
          </a:p>
        </p:txBody>
      </p:sp>
      <p:sp>
        <p:nvSpPr>
          <p:cNvPr id="47" name="TextBox 46"/>
          <p:cNvSpPr txBox="1"/>
          <p:nvPr/>
        </p:nvSpPr>
        <p:spPr>
          <a:xfrm>
            <a:off x="446063" y="4258256"/>
            <a:ext cx="986641" cy="416396"/>
          </a:xfrm>
          <a:prstGeom prst="rect">
            <a:avLst/>
          </a:prstGeom>
          <a:noFill/>
        </p:spPr>
        <p:txBody>
          <a:bodyPr wrap="square" rtlCol="0">
            <a:spAutoFit/>
          </a:bodyPr>
          <a:lstStyle/>
          <a:p>
            <a:r>
              <a:rPr lang="en-US" sz="1053" dirty="0"/>
              <a:t>Purely on-chain</a:t>
            </a:r>
          </a:p>
        </p:txBody>
      </p:sp>
    </p:spTree>
    <p:extLst>
      <p:ext uri="{BB962C8B-B14F-4D97-AF65-F5344CB8AC3E}">
        <p14:creationId xmlns:p14="http://schemas.microsoft.com/office/powerpoint/2010/main" val="868455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2"/>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4"/>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4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561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612" grpId="0"/>
      <p:bldP spid="47"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attern Form</a:t>
            </a:r>
          </a:p>
        </p:txBody>
      </p:sp>
      <p:graphicFrame>
        <p:nvGraphicFramePr>
          <p:cNvPr id="4" name="Content Placeholder 3"/>
          <p:cNvGraphicFramePr>
            <a:graphicFrameLocks noGrp="1"/>
          </p:cNvGraphicFramePr>
          <p:nvPr>
            <p:ph idx="4294967295"/>
            <p:extLst>
              <p:ext uri="{D42A27DB-BD31-4B8C-83A1-F6EECF244321}">
                <p14:modId xmlns:p14="http://schemas.microsoft.com/office/powerpoint/2010/main" val="1804801270"/>
              </p:ext>
            </p:extLst>
          </p:nvPr>
        </p:nvGraphicFramePr>
        <p:xfrm>
          <a:off x="0" y="1109663"/>
          <a:ext cx="3892550" cy="412273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4"/>
          <p:cNvSpPr/>
          <p:nvPr/>
        </p:nvSpPr>
        <p:spPr>
          <a:xfrm>
            <a:off x="3482173" y="5012427"/>
            <a:ext cx="5073394" cy="215444"/>
          </a:xfrm>
          <a:prstGeom prst="rect">
            <a:avLst/>
          </a:prstGeom>
        </p:spPr>
        <p:txBody>
          <a:bodyPr wrap="square">
            <a:spAutoFit/>
          </a:bodyPr>
          <a:lstStyle/>
          <a:p>
            <a:pPr algn="r"/>
            <a:r>
              <a:rPr lang="en-US" sz="800" i="1" dirty="0">
                <a:latin typeface="Helvetica"/>
                <a:cs typeface="Helvetica"/>
              </a:rPr>
              <a:t>* </a:t>
            </a:r>
            <a:r>
              <a:rPr lang="en-US" sz="800" i="1" dirty="0" err="1">
                <a:latin typeface="Helvetica"/>
                <a:cs typeface="Helvetica"/>
              </a:rPr>
              <a:t>Meszaros</a:t>
            </a:r>
            <a:r>
              <a:rPr lang="en-US" sz="800" i="1" dirty="0">
                <a:latin typeface="Helvetica"/>
                <a:cs typeface="Helvetica"/>
              </a:rPr>
              <a:t>, G., et al.: A Pattern Language for Pattern Writing. Pattern languages of program design (1998)</a:t>
            </a:r>
          </a:p>
        </p:txBody>
      </p:sp>
      <p:sp>
        <p:nvSpPr>
          <p:cNvPr id="8" name="Content Placeholder 1"/>
          <p:cNvSpPr txBox="1">
            <a:spLocks/>
          </p:cNvSpPr>
          <p:nvPr/>
        </p:nvSpPr>
        <p:spPr>
          <a:xfrm>
            <a:off x="3399019" y="1181100"/>
            <a:ext cx="5156548" cy="3825430"/>
          </a:xfrm>
          <a:prstGeom prst="rect">
            <a:avLst/>
          </a:prstGeom>
        </p:spPr>
        <p:txBody>
          <a:bodyPr vert="horz" lIns="68580" tIns="34290" rIns="68580" bIns="34290" rtlCol="0">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266700" indent="-266700" algn="l" defTabSz="914400" rtl="0" eaLnBrk="1" latinLnBrk="0" hangingPunct="1">
              <a:lnSpc>
                <a:spcPct val="90000"/>
              </a:lnSpc>
              <a:spcBef>
                <a:spcPts val="500"/>
              </a:spcBef>
              <a:buClr>
                <a:schemeClr val="accent1"/>
              </a:buClr>
              <a:buFont typeface="TheSansB W3 Light" panose="020B0302050302020203" pitchFamily="34" charset="0"/>
              <a:buChar char="-"/>
              <a:defRPr sz="2000" kern="1200">
                <a:solidFill>
                  <a:schemeClr val="tx1"/>
                </a:solidFill>
                <a:latin typeface="+mn-lt"/>
                <a:ea typeface="+mn-ea"/>
                <a:cs typeface="+mn-cs"/>
              </a:defRPr>
            </a:lvl2pPr>
            <a:lvl3pPr marL="723900" indent="-2794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990600" indent="-2667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4pPr>
            <a:lvl5pPr marL="1257300" indent="-2667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AU" sz="1900" dirty="0"/>
              <a:t>Forces</a:t>
            </a:r>
          </a:p>
          <a:p>
            <a:pPr lvl="1"/>
            <a:r>
              <a:rPr lang="en-AU" sz="1600" dirty="0"/>
              <a:t>What makes the problem hard?</a:t>
            </a:r>
          </a:p>
          <a:p>
            <a:pPr lvl="1"/>
            <a:r>
              <a:rPr lang="en-AU" sz="1600" dirty="0"/>
              <a:t>Identified with the quality attributes</a:t>
            </a:r>
          </a:p>
          <a:p>
            <a:r>
              <a:rPr lang="en-AU" sz="1900" dirty="0"/>
              <a:t>Solution</a:t>
            </a:r>
          </a:p>
          <a:p>
            <a:pPr lvl="1"/>
            <a:r>
              <a:rPr lang="en-AU" sz="1600" dirty="0"/>
              <a:t>Trade-off between the quality attributes</a:t>
            </a:r>
          </a:p>
          <a:p>
            <a:r>
              <a:rPr lang="en-AU" sz="1900" dirty="0"/>
              <a:t>Features only applicable to certain type of blockchain, such as monetary cost</a:t>
            </a:r>
          </a:p>
        </p:txBody>
      </p:sp>
      <p:sp>
        <p:nvSpPr>
          <p:cNvPr id="9" name="Bent Arrow 8"/>
          <p:cNvSpPr/>
          <p:nvPr/>
        </p:nvSpPr>
        <p:spPr>
          <a:xfrm rot="10800000">
            <a:off x="3923030" y="4003916"/>
            <a:ext cx="513000" cy="500553"/>
          </a:xfrm>
          <a:prstGeom prst="bentArrow">
            <a:avLst>
              <a:gd name="adj1" fmla="val 28849"/>
              <a:gd name="adj2" fmla="val 25000"/>
              <a:gd name="adj3" fmla="val 25000"/>
              <a:gd name="adj4" fmla="val 39510"/>
            </a:avLst>
          </a:prstGeom>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sz="1053">
              <a:solidFill>
                <a:schemeClr val="tx1"/>
              </a:solidFill>
            </a:endParaRPr>
          </a:p>
        </p:txBody>
      </p:sp>
      <p:sp>
        <p:nvSpPr>
          <p:cNvPr id="10" name="Bent Arrow 9"/>
          <p:cNvSpPr/>
          <p:nvPr/>
        </p:nvSpPr>
        <p:spPr>
          <a:xfrm flipH="1">
            <a:off x="3919875" y="3736478"/>
            <a:ext cx="513000" cy="532403"/>
          </a:xfrm>
          <a:prstGeom prst="bentArrow">
            <a:avLst>
              <a:gd name="adj1" fmla="val 28849"/>
              <a:gd name="adj2" fmla="val 25000"/>
              <a:gd name="adj3" fmla="val 25000"/>
              <a:gd name="adj4" fmla="val 39510"/>
            </a:avLst>
          </a:prstGeom>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sz="1053">
              <a:solidFill>
                <a:schemeClr val="tx1"/>
              </a:solidFill>
            </a:endParaRPr>
          </a:p>
        </p:txBody>
      </p:sp>
      <p:sp>
        <p:nvSpPr>
          <p:cNvPr id="7" name="TextBox 6"/>
          <p:cNvSpPr txBox="1"/>
          <p:nvPr/>
        </p:nvSpPr>
        <p:spPr>
          <a:xfrm>
            <a:off x="3797905" y="5539619"/>
            <a:ext cx="184666" cy="308392"/>
          </a:xfrm>
          <a:prstGeom prst="rect">
            <a:avLst/>
          </a:prstGeom>
          <a:noFill/>
        </p:spPr>
        <p:txBody>
          <a:bodyPr wrap="none" rtlCol="0">
            <a:spAutoFit/>
          </a:bodyPr>
          <a:lstStyle/>
          <a:p>
            <a:endParaRPr lang="en-US" dirty="0"/>
          </a:p>
        </p:txBody>
      </p:sp>
    </p:spTree>
    <p:extLst>
      <p:ext uri="{BB962C8B-B14F-4D97-AF65-F5344CB8AC3E}">
        <p14:creationId xmlns:p14="http://schemas.microsoft.com/office/powerpoint/2010/main" val="34771614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ontext</a:t>
            </a:r>
          </a:p>
        </p:txBody>
      </p:sp>
      <p:sp>
        <p:nvSpPr>
          <p:cNvPr id="3" name="Content Placeholder 2"/>
          <p:cNvSpPr>
            <a:spLocks noGrp="1"/>
          </p:cNvSpPr>
          <p:nvPr>
            <p:ph idx="1"/>
          </p:nvPr>
        </p:nvSpPr>
        <p:spPr/>
        <p:txBody>
          <a:bodyPr/>
          <a:lstStyle/>
          <a:p>
            <a:r>
              <a:rPr lang="en-US" dirty="0"/>
              <a:t>Blockchain can be a component of a large(r) software system</a:t>
            </a:r>
          </a:p>
          <a:p>
            <a:r>
              <a:rPr lang="en-US" dirty="0"/>
              <a:t>Communicates with other components within the software system</a:t>
            </a:r>
          </a:p>
        </p:txBody>
      </p:sp>
      <p:sp>
        <p:nvSpPr>
          <p:cNvPr id="6" name="Foliennummernplatzhalter 5">
            <a:extLst>
              <a:ext uri="{FF2B5EF4-FFF2-40B4-BE49-F238E27FC236}">
                <a16:creationId xmlns:a16="http://schemas.microsoft.com/office/drawing/2014/main" id="{C4B88B43-74CA-4448-95A0-44AF5BFAB32A}"/>
              </a:ext>
            </a:extLst>
          </p:cNvPr>
          <p:cNvSpPr>
            <a:spLocks noGrp="1"/>
          </p:cNvSpPr>
          <p:nvPr>
            <p:ph type="sldNum" sz="quarter" idx="4"/>
          </p:nvPr>
        </p:nvSpPr>
        <p:spPr/>
        <p:txBody>
          <a:bodyPr/>
          <a:lstStyle/>
          <a:p>
            <a:fld id="{97F98C0B-273E-428A-ABCF-EBED2BA25188}" type="slidenum">
              <a:rPr lang="en-US" smtClean="0"/>
              <a:t>12</a:t>
            </a:fld>
            <a:endParaRPr lang="en-US"/>
          </a:p>
        </p:txBody>
      </p:sp>
      <p:pic>
        <p:nvPicPr>
          <p:cNvPr id="5" name="Picture 4" descr="connector_SA_blockchain.pdf"/>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72316" y="2191257"/>
            <a:ext cx="4688765" cy="2639601"/>
          </a:xfrm>
          <a:prstGeom prst="rect">
            <a:avLst/>
          </a:prstGeom>
        </p:spPr>
      </p:pic>
    </p:spTree>
    <p:extLst>
      <p:ext uri="{BB962C8B-B14F-4D97-AF65-F5344CB8AC3E}">
        <p14:creationId xmlns:p14="http://schemas.microsoft.com/office/powerpoint/2010/main" val="32103723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AU" sz="1800" dirty="0"/>
              <a:t>Pattern Collection (Chapter 7)</a:t>
            </a:r>
            <a:br>
              <a:rPr lang="en-AU" sz="2800" dirty="0"/>
            </a:br>
            <a:r>
              <a:rPr lang="en-AU" sz="2800" dirty="0"/>
              <a:t>Please read about the ones highlighted </a:t>
            </a:r>
            <a:r>
              <a:rPr lang="en-AU" sz="1800" dirty="0"/>
              <a:t>(black background)</a:t>
            </a:r>
          </a:p>
        </p:txBody>
      </p:sp>
      <p:cxnSp>
        <p:nvCxnSpPr>
          <p:cNvPr id="13" name="Straight Connector 12"/>
          <p:cNvCxnSpPr/>
          <p:nvPr/>
        </p:nvCxnSpPr>
        <p:spPr>
          <a:xfrm flipV="1">
            <a:off x="347521" y="4239025"/>
            <a:ext cx="2267837" cy="439"/>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graphicFrame>
        <p:nvGraphicFramePr>
          <p:cNvPr id="4" name="Diagram 3"/>
          <p:cNvGraphicFramePr/>
          <p:nvPr>
            <p:extLst>
              <p:ext uri="{D42A27DB-BD31-4B8C-83A1-F6EECF244321}">
                <p14:modId xmlns:p14="http://schemas.microsoft.com/office/powerpoint/2010/main" val="505387627"/>
              </p:ext>
            </p:extLst>
          </p:nvPr>
        </p:nvGraphicFramePr>
        <p:xfrm>
          <a:off x="37785" y="1136381"/>
          <a:ext cx="9284623" cy="407040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15" name="Straight Connector 14"/>
          <p:cNvCxnSpPr/>
          <p:nvPr/>
        </p:nvCxnSpPr>
        <p:spPr>
          <a:xfrm>
            <a:off x="2628852" y="3136904"/>
            <a:ext cx="1470867" cy="6"/>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p:nvCxnSpPr>
        <p:spPr>
          <a:xfrm>
            <a:off x="4089297" y="2460804"/>
            <a:ext cx="1298001" cy="0"/>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p:nvCxnSpPr>
        <p:spPr>
          <a:xfrm>
            <a:off x="5373373" y="1771817"/>
            <a:ext cx="1487768" cy="4"/>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a:cxnSpLocks/>
          </p:cNvCxnSpPr>
          <p:nvPr/>
        </p:nvCxnSpPr>
        <p:spPr>
          <a:xfrm>
            <a:off x="6828979" y="2460886"/>
            <a:ext cx="1646573" cy="9510"/>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p:nvCxnSpPr>
        <p:spPr>
          <a:xfrm>
            <a:off x="2615565" y="3124772"/>
            <a:ext cx="0" cy="1109945"/>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p:nvCxnSpPr>
        <p:spPr>
          <a:xfrm flipH="1">
            <a:off x="4093451" y="2445100"/>
            <a:ext cx="1" cy="708666"/>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p:nvCxnSpPr>
        <p:spPr>
          <a:xfrm flipH="1">
            <a:off x="5377970" y="1753164"/>
            <a:ext cx="1" cy="708666"/>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p:nvCxnSpPr>
        <p:spPr>
          <a:xfrm flipH="1">
            <a:off x="6848545" y="1764973"/>
            <a:ext cx="2287" cy="698579"/>
          </a:xfrm>
          <a:prstGeom prst="line">
            <a:avLst/>
          </a:prstGeom>
          <a:ln w="28575" cmpd="sng">
            <a:solidFill>
              <a:schemeClr val="accent4"/>
            </a:solidFill>
            <a:prstDash val="dash"/>
          </a:ln>
        </p:spPr>
        <p:style>
          <a:lnRef idx="2">
            <a:schemeClr val="accent1"/>
          </a:lnRef>
          <a:fillRef idx="0">
            <a:schemeClr val="accent1"/>
          </a:fillRef>
          <a:effectRef idx="1">
            <a:schemeClr val="accent1"/>
          </a:effectRef>
          <a:fontRef idx="minor">
            <a:schemeClr val="tx1"/>
          </a:fontRef>
        </p:style>
      </p:cxnSp>
      <p:sp>
        <p:nvSpPr>
          <p:cNvPr id="25612" name="TextBox 25611"/>
          <p:cNvSpPr txBox="1"/>
          <p:nvPr/>
        </p:nvSpPr>
        <p:spPr>
          <a:xfrm>
            <a:off x="436394" y="3774987"/>
            <a:ext cx="986641" cy="416396"/>
          </a:xfrm>
          <a:prstGeom prst="rect">
            <a:avLst/>
          </a:prstGeom>
          <a:noFill/>
        </p:spPr>
        <p:txBody>
          <a:bodyPr wrap="square" rtlCol="0">
            <a:spAutoFit/>
          </a:bodyPr>
          <a:lstStyle/>
          <a:p>
            <a:r>
              <a:rPr lang="en-US" sz="1053" dirty="0"/>
              <a:t>Mixed on and off-chain</a:t>
            </a:r>
          </a:p>
        </p:txBody>
      </p:sp>
      <p:sp>
        <p:nvSpPr>
          <p:cNvPr id="47" name="TextBox 46"/>
          <p:cNvSpPr txBox="1"/>
          <p:nvPr/>
        </p:nvSpPr>
        <p:spPr>
          <a:xfrm>
            <a:off x="446063" y="4258256"/>
            <a:ext cx="986641" cy="416396"/>
          </a:xfrm>
          <a:prstGeom prst="rect">
            <a:avLst/>
          </a:prstGeom>
          <a:noFill/>
        </p:spPr>
        <p:txBody>
          <a:bodyPr wrap="square" rtlCol="0">
            <a:spAutoFit/>
          </a:bodyPr>
          <a:lstStyle/>
          <a:p>
            <a:r>
              <a:rPr lang="en-US" sz="1053" dirty="0"/>
              <a:t>Purely on-chain</a:t>
            </a:r>
          </a:p>
        </p:txBody>
      </p:sp>
    </p:spTree>
    <p:extLst>
      <p:ext uri="{BB962C8B-B14F-4D97-AF65-F5344CB8AC3E}">
        <p14:creationId xmlns:p14="http://schemas.microsoft.com/office/powerpoint/2010/main" val="25207566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2"/>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4"/>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4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561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612" grpId="0"/>
      <p:bldP spid="47"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0">
            <a:extLst>
              <a:ext uri="{FF2B5EF4-FFF2-40B4-BE49-F238E27FC236}">
                <a16:creationId xmlns:a16="http://schemas.microsoft.com/office/drawing/2014/main" id="{15CF5EB8-885B-4B45-8DCA-F03A2CD9F06E}"/>
              </a:ext>
            </a:extLst>
          </p:cNvPr>
          <p:cNvSpPr>
            <a:spLocks noGrp="1"/>
          </p:cNvSpPr>
          <p:nvPr>
            <p:ph type="ctrTitle"/>
          </p:nvPr>
        </p:nvSpPr>
        <p:spPr/>
        <p:txBody>
          <a:bodyPr>
            <a:noAutofit/>
          </a:bodyPr>
          <a:lstStyle/>
          <a:p>
            <a:r>
              <a:rPr lang="en-AU" sz="3200" dirty="0"/>
              <a:t>Design Patterns (Overview)</a:t>
            </a:r>
            <a:endParaRPr lang="en-AU" sz="3000" noProof="0" dirty="0"/>
          </a:p>
        </p:txBody>
      </p:sp>
      <p:sp>
        <p:nvSpPr>
          <p:cNvPr id="7" name="Rectangle 3">
            <a:extLst>
              <a:ext uri="{FF2B5EF4-FFF2-40B4-BE49-F238E27FC236}">
                <a16:creationId xmlns:a16="http://schemas.microsoft.com/office/drawing/2014/main" id="{A6FEA553-1EB6-46EF-96AD-5E6A42E2BE00}"/>
              </a:ext>
            </a:extLst>
          </p:cNvPr>
          <p:cNvSpPr txBox="1">
            <a:spLocks noGrp="1" noChangeArrowheads="1"/>
          </p:cNvSpPr>
          <p:nvPr>
            <p:ph type="subTitle" idx="1"/>
          </p:nvPr>
        </p:nvSpPr>
        <p:spPr>
          <a:xfrm>
            <a:off x="647700" y="4502150"/>
            <a:ext cx="8035925" cy="658813"/>
          </a:xfrm>
          <a:prstGeom prst="rect">
            <a:avLst/>
          </a:prstGeom>
        </p:spPr>
        <p:txBody>
          <a:bodyPr>
            <a:normAutofit fontScale="92500"/>
          </a:bodyPr>
          <a:lstStyle>
            <a:lvl1pPr marL="342900" indent="-342900" algn="l" rtl="0" eaLnBrk="1" fontAlgn="base" hangingPunct="1">
              <a:lnSpc>
                <a:spcPts val="2200"/>
              </a:lnSpc>
              <a:spcBef>
                <a:spcPct val="0"/>
              </a:spcBef>
              <a:spcAft>
                <a:spcPct val="0"/>
              </a:spcAft>
              <a:defRPr sz="1400" kern="1200">
                <a:solidFill>
                  <a:srgbClr val="000000"/>
                </a:solidFill>
                <a:latin typeface="+mn-lt"/>
                <a:ea typeface="+mn-ea"/>
                <a:cs typeface="+mn-cs"/>
              </a:defRPr>
            </a:lvl1pPr>
            <a:lvl2pPr marL="784225" indent="-244475" algn="l" rtl="0" eaLnBrk="1" fontAlgn="base" hangingPunct="1">
              <a:spcBef>
                <a:spcPct val="20000"/>
              </a:spcBef>
              <a:spcAft>
                <a:spcPct val="0"/>
              </a:spcAft>
              <a:buFont typeface="Arial" panose="020B0604020202020204" pitchFamily="34" charset="0"/>
              <a:buChar char="–"/>
              <a:defRPr sz="1400" kern="1200">
                <a:solidFill>
                  <a:srgbClr val="000000"/>
                </a:solidFill>
                <a:latin typeface="+mn-lt"/>
                <a:ea typeface="+mn-ea"/>
                <a:cs typeface="+mn-cs"/>
              </a:defRPr>
            </a:lvl2pPr>
            <a:lvl3pPr marL="1192213" indent="-228600" algn="l" rtl="0" eaLnBrk="1" fontAlgn="base" hangingPunct="1">
              <a:spcBef>
                <a:spcPct val="20000"/>
              </a:spcBef>
              <a:spcAft>
                <a:spcPct val="0"/>
              </a:spcAft>
              <a:buChar char="•"/>
              <a:defRPr sz="1400" kern="1200">
                <a:solidFill>
                  <a:schemeClr val="tx1"/>
                </a:solidFill>
                <a:latin typeface="+mn-lt"/>
                <a:ea typeface="+mn-ea"/>
                <a:cs typeface="+mn-cs"/>
              </a:defRPr>
            </a:lvl3pPr>
            <a:lvl4pPr marL="1600200" indent="-228600" algn="l" rtl="0" eaLnBrk="1" fontAlgn="base" hangingPunct="1">
              <a:spcBef>
                <a:spcPct val="20000"/>
              </a:spcBef>
              <a:spcAft>
                <a:spcPct val="0"/>
              </a:spcAft>
              <a:buChar char="–"/>
              <a:defRPr sz="1400" kern="1200">
                <a:solidFill>
                  <a:schemeClr val="tx1"/>
                </a:solidFill>
                <a:latin typeface="+mn-lt"/>
                <a:ea typeface="+mn-ea"/>
                <a:cs typeface="+mn-cs"/>
              </a:defRPr>
            </a:lvl4pPr>
            <a:lvl5pPr marL="2057400" indent="-228600" algn="l" rtl="0" eaLnBrk="1" fontAlgn="base" hangingPunct="1">
              <a:spcBef>
                <a:spcPct val="20000"/>
              </a:spcBef>
              <a:spcAft>
                <a:spcPct val="0"/>
              </a:spcAft>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sz="1600" dirty="0">
                <a:solidFill>
                  <a:schemeClr val="tx1">
                    <a:lumMod val="65000"/>
                    <a:lumOff val="35000"/>
                  </a:schemeClr>
                </a:solidFill>
              </a:rPr>
              <a:t>Source of most materials: </a:t>
            </a:r>
          </a:p>
          <a:p>
            <a:pPr marL="0" indent="0"/>
            <a:r>
              <a:rPr lang="en-US" sz="1600" dirty="0">
                <a:solidFill>
                  <a:schemeClr val="tx1">
                    <a:lumMod val="65000"/>
                    <a:lumOff val="35000"/>
                  </a:schemeClr>
                </a:solidFill>
              </a:rPr>
              <a:t>Xiwei Xu, Ingo Weber, and Mark Staples. </a:t>
            </a:r>
            <a:r>
              <a:rPr lang="en-US" sz="1600" i="1" dirty="0">
                <a:solidFill>
                  <a:schemeClr val="tx1">
                    <a:lumMod val="65000"/>
                    <a:lumOff val="35000"/>
                  </a:schemeClr>
                </a:solidFill>
              </a:rPr>
              <a:t>Architecture for Blockchain Applications</a:t>
            </a:r>
            <a:r>
              <a:rPr lang="en-US" sz="1600" dirty="0">
                <a:solidFill>
                  <a:schemeClr val="tx1">
                    <a:lumMod val="65000"/>
                    <a:lumOff val="35000"/>
                  </a:schemeClr>
                </a:solidFill>
              </a:rPr>
              <a:t>. Springer, 2019</a:t>
            </a:r>
            <a:endParaRPr lang="en-US" altLang="de-DE" sz="1600" noProof="0" dirty="0">
              <a:solidFill>
                <a:schemeClr val="tx1">
                  <a:lumMod val="65000"/>
                  <a:lumOff val="35000"/>
                </a:schemeClr>
              </a:solidFill>
            </a:endParaRPr>
          </a:p>
        </p:txBody>
      </p:sp>
    </p:spTree>
    <p:extLst>
      <p:ext uri="{BB962C8B-B14F-4D97-AF65-F5344CB8AC3E}">
        <p14:creationId xmlns:p14="http://schemas.microsoft.com/office/powerpoint/2010/main" val="30483525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tLang="zh-CN" dirty="0"/>
              <a:t>What is a Design Pattern</a:t>
            </a:r>
            <a:r>
              <a:rPr lang="en-AU" dirty="0"/>
              <a:t>?</a:t>
            </a:r>
          </a:p>
        </p:txBody>
      </p:sp>
      <p:sp>
        <p:nvSpPr>
          <p:cNvPr id="26625" name="Content Placeholder 1"/>
          <p:cNvSpPr>
            <a:spLocks noGrp="1"/>
          </p:cNvSpPr>
          <p:nvPr>
            <p:ph idx="1"/>
          </p:nvPr>
        </p:nvSpPr>
        <p:spPr/>
        <p:txBody>
          <a:bodyPr>
            <a:noAutofit/>
          </a:bodyPr>
          <a:lstStyle/>
          <a:p>
            <a:r>
              <a:rPr lang="en-AU" dirty="0"/>
              <a:t>To solve a recurring problem in software development</a:t>
            </a:r>
          </a:p>
          <a:p>
            <a:r>
              <a:rPr lang="en-AU" dirty="0"/>
              <a:t>Not a finished design that can be transformed directly into code</a:t>
            </a:r>
          </a:p>
          <a:p>
            <a:r>
              <a:rPr lang="en-AU" dirty="0"/>
              <a:t>A description or template for how to solve a problem </a:t>
            </a:r>
          </a:p>
          <a:p>
            <a:pPr lvl="1"/>
            <a:r>
              <a:rPr lang="en-AU" dirty="0"/>
              <a:t>Define constraints that restrict the roles of architectural elements</a:t>
            </a:r>
          </a:p>
          <a:p>
            <a:pPr lvl="2"/>
            <a:r>
              <a:rPr lang="en-AU" dirty="0"/>
              <a:t>Processing </a:t>
            </a:r>
          </a:p>
          <a:p>
            <a:pPr lvl="2"/>
            <a:r>
              <a:rPr lang="en-AU" dirty="0"/>
              <a:t>Connectors</a:t>
            </a:r>
          </a:p>
          <a:p>
            <a:pPr lvl="2"/>
            <a:r>
              <a:rPr lang="en-AU" dirty="0"/>
              <a:t>Data</a:t>
            </a:r>
          </a:p>
          <a:p>
            <a:pPr lvl="1"/>
            <a:r>
              <a:rPr lang="en-AU" dirty="0"/>
              <a:t>Define constraints that restrict the interaction among these elements </a:t>
            </a:r>
          </a:p>
          <a:p>
            <a:r>
              <a:rPr lang="en-AU" dirty="0"/>
              <a:t>Causes trade-offs among quality attributes</a:t>
            </a:r>
          </a:p>
        </p:txBody>
      </p:sp>
      <p:sp>
        <p:nvSpPr>
          <p:cNvPr id="4" name="Foliennummernplatzhalter 3">
            <a:extLst>
              <a:ext uri="{FF2B5EF4-FFF2-40B4-BE49-F238E27FC236}">
                <a16:creationId xmlns:a16="http://schemas.microsoft.com/office/drawing/2014/main" id="{7C5A3C54-3E26-46B4-8CDB-D5F9464C094F}"/>
              </a:ext>
            </a:extLst>
          </p:cNvPr>
          <p:cNvSpPr>
            <a:spLocks noGrp="1"/>
          </p:cNvSpPr>
          <p:nvPr>
            <p:ph type="sldNum" sz="quarter" idx="4"/>
          </p:nvPr>
        </p:nvSpPr>
        <p:spPr/>
        <p:txBody>
          <a:bodyPr/>
          <a:lstStyle/>
          <a:p>
            <a:fld id="{97F98C0B-273E-428A-ABCF-EBED2BA25188}" type="slidenum">
              <a:rPr lang="en-US" smtClean="0"/>
              <a:t>2</a:t>
            </a:fld>
            <a:endParaRPr lang="en-US"/>
          </a:p>
        </p:txBody>
      </p:sp>
    </p:spTree>
    <p:extLst>
      <p:ext uri="{BB962C8B-B14F-4D97-AF65-F5344CB8AC3E}">
        <p14:creationId xmlns:p14="http://schemas.microsoft.com/office/powerpoint/2010/main" val="41418571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6625">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6625">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6625">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6625">
                                            <p:txEl>
                                              <p:pRg st="5" end="5"/>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6625">
                                            <p:txEl>
                                              <p:pRg st="6" end="6"/>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6625">
                                            <p:txEl>
                                              <p:pRg st="7" end="7"/>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6625">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Fig4-2PatternsAndStyle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82568" y="1096223"/>
            <a:ext cx="3475534" cy="396642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title"/>
          </p:nvPr>
        </p:nvSpPr>
        <p:spPr/>
        <p:txBody>
          <a:bodyPr>
            <a:normAutofit/>
          </a:bodyPr>
          <a:lstStyle/>
          <a:p>
            <a:r>
              <a:rPr lang="en-AU" altLang="zh-CN" dirty="0"/>
              <a:t>Architecture Design </a:t>
            </a:r>
            <a:endParaRPr lang="en-AU" dirty="0"/>
          </a:p>
        </p:txBody>
      </p:sp>
      <p:sp>
        <p:nvSpPr>
          <p:cNvPr id="26625" name="Content Placeholder 1"/>
          <p:cNvSpPr>
            <a:spLocks noGrp="1"/>
          </p:cNvSpPr>
          <p:nvPr>
            <p:ph idx="1"/>
          </p:nvPr>
        </p:nvSpPr>
        <p:spPr>
          <a:xfrm>
            <a:off x="648000" y="1295999"/>
            <a:ext cx="3918163" cy="3845917"/>
          </a:xfrm>
        </p:spPr>
        <p:txBody>
          <a:bodyPr>
            <a:noAutofit/>
          </a:bodyPr>
          <a:lstStyle/>
          <a:p>
            <a:r>
              <a:rPr lang="en-AU" dirty="0"/>
              <a:t>From scratch</a:t>
            </a:r>
          </a:p>
          <a:p>
            <a:pPr lvl="1"/>
            <a:r>
              <a:rPr lang="en-AU" dirty="0"/>
              <a:t>Unexpected solutions can be found</a:t>
            </a:r>
          </a:p>
          <a:p>
            <a:pPr lvl="1"/>
            <a:r>
              <a:rPr lang="en-AU" dirty="0"/>
              <a:t>Labour-intensive and error-prone</a:t>
            </a:r>
          </a:p>
          <a:p>
            <a:endParaRPr lang="en-AU" dirty="0"/>
          </a:p>
          <a:p>
            <a:r>
              <a:rPr lang="en-AU" dirty="0"/>
              <a:t>Apply a generic solution/strategy (style/pattern) and adapt it to the problem</a:t>
            </a:r>
          </a:p>
          <a:p>
            <a:pPr lvl="1"/>
            <a:r>
              <a:rPr lang="en-AU" dirty="0"/>
              <a:t>Reuse, less work and less errors</a:t>
            </a:r>
          </a:p>
          <a:p>
            <a:pPr lvl="1"/>
            <a:r>
              <a:rPr lang="en-AU" dirty="0"/>
              <a:t>Generic solution might be ill-fitting or too generic </a:t>
            </a:r>
          </a:p>
          <a:p>
            <a:endParaRPr lang="en-AU" dirty="0"/>
          </a:p>
        </p:txBody>
      </p:sp>
      <p:sp>
        <p:nvSpPr>
          <p:cNvPr id="7" name="Foliennummernplatzhalter 6">
            <a:extLst>
              <a:ext uri="{FF2B5EF4-FFF2-40B4-BE49-F238E27FC236}">
                <a16:creationId xmlns:a16="http://schemas.microsoft.com/office/drawing/2014/main" id="{3D2F6E2E-330F-484E-B464-B6BFF8970440}"/>
              </a:ext>
            </a:extLst>
          </p:cNvPr>
          <p:cNvSpPr>
            <a:spLocks noGrp="1"/>
          </p:cNvSpPr>
          <p:nvPr>
            <p:ph type="sldNum" sz="quarter" idx="4"/>
          </p:nvPr>
        </p:nvSpPr>
        <p:spPr/>
        <p:txBody>
          <a:bodyPr/>
          <a:lstStyle/>
          <a:p>
            <a:fld id="{97F98C0B-273E-428A-ABCF-EBED2BA25188}" type="slidenum">
              <a:rPr lang="en-US" smtClean="0"/>
              <a:t>3</a:t>
            </a:fld>
            <a:endParaRPr lang="en-US"/>
          </a:p>
        </p:txBody>
      </p:sp>
      <p:sp>
        <p:nvSpPr>
          <p:cNvPr id="6" name="Text Box 4"/>
          <p:cNvSpPr txBox="1">
            <a:spLocks noChangeArrowheads="1"/>
          </p:cNvSpPr>
          <p:nvPr/>
        </p:nvSpPr>
        <p:spPr bwMode="auto">
          <a:xfrm>
            <a:off x="648000" y="5032452"/>
            <a:ext cx="7000254" cy="2154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sz="2400">
                <a:solidFill>
                  <a:schemeClr val="tx1"/>
                </a:solidFill>
                <a:latin typeface="Times" charset="0"/>
                <a:ea typeface="ＭＳ Ｐゴシック" charset="0"/>
                <a:cs typeface="ＭＳ Ｐゴシック" charset="0"/>
              </a:defRPr>
            </a:lvl1pPr>
            <a:lvl2pPr marL="742950" indent="-285750">
              <a:defRPr sz="2400">
                <a:solidFill>
                  <a:schemeClr val="tx1"/>
                </a:solidFill>
                <a:latin typeface="Times" charset="0"/>
                <a:ea typeface="ＭＳ Ｐゴシック" charset="0"/>
              </a:defRPr>
            </a:lvl2pPr>
            <a:lvl3pPr marL="1143000" indent="-228600">
              <a:defRPr sz="2400">
                <a:solidFill>
                  <a:schemeClr val="tx1"/>
                </a:solidFill>
                <a:latin typeface="Times" charset="0"/>
                <a:ea typeface="ＭＳ Ｐゴシック" charset="0"/>
              </a:defRPr>
            </a:lvl3pPr>
            <a:lvl4pPr marL="1600200" indent="-228600">
              <a:defRPr sz="2400">
                <a:solidFill>
                  <a:schemeClr val="tx1"/>
                </a:solidFill>
                <a:latin typeface="Times" charset="0"/>
                <a:ea typeface="ＭＳ Ｐゴシック" charset="0"/>
              </a:defRPr>
            </a:lvl4pPr>
            <a:lvl5pPr marL="2057400" indent="-228600">
              <a:defRPr sz="2400">
                <a:solidFill>
                  <a:schemeClr val="tx1"/>
                </a:solidFill>
                <a:latin typeface="Times" charset="0"/>
                <a:ea typeface="ＭＳ Ｐゴシック" charset="0"/>
              </a:defRPr>
            </a:lvl5pPr>
            <a:lvl6pPr marL="2514600" indent="-228600" eaLnBrk="0" fontAlgn="base" hangingPunct="0">
              <a:spcBef>
                <a:spcPct val="0"/>
              </a:spcBef>
              <a:spcAft>
                <a:spcPct val="0"/>
              </a:spcAft>
              <a:defRPr sz="2400">
                <a:solidFill>
                  <a:schemeClr val="tx1"/>
                </a:solidFill>
                <a:latin typeface="Times" charset="0"/>
                <a:ea typeface="ＭＳ Ｐゴシック" charset="0"/>
              </a:defRPr>
            </a:lvl6pPr>
            <a:lvl7pPr marL="2971800" indent="-228600" eaLnBrk="0" fontAlgn="base" hangingPunct="0">
              <a:spcBef>
                <a:spcPct val="0"/>
              </a:spcBef>
              <a:spcAft>
                <a:spcPct val="0"/>
              </a:spcAft>
              <a:defRPr sz="2400">
                <a:solidFill>
                  <a:schemeClr val="tx1"/>
                </a:solidFill>
                <a:latin typeface="Times" charset="0"/>
                <a:ea typeface="ＭＳ Ｐゴシック" charset="0"/>
              </a:defRPr>
            </a:lvl7pPr>
            <a:lvl8pPr marL="3429000" indent="-228600" eaLnBrk="0" fontAlgn="base" hangingPunct="0">
              <a:spcBef>
                <a:spcPct val="0"/>
              </a:spcBef>
              <a:spcAft>
                <a:spcPct val="0"/>
              </a:spcAft>
              <a:defRPr sz="2400">
                <a:solidFill>
                  <a:schemeClr val="tx1"/>
                </a:solidFill>
                <a:latin typeface="Times" charset="0"/>
                <a:ea typeface="ＭＳ Ｐゴシック" charset="0"/>
              </a:defRPr>
            </a:lvl8pPr>
            <a:lvl9pPr marL="3886200" indent="-228600" eaLnBrk="0" fontAlgn="base" hangingPunct="0">
              <a:spcBef>
                <a:spcPct val="0"/>
              </a:spcBef>
              <a:spcAft>
                <a:spcPct val="0"/>
              </a:spcAft>
              <a:defRPr sz="2400">
                <a:solidFill>
                  <a:schemeClr val="tx1"/>
                </a:solidFill>
                <a:latin typeface="Times" charset="0"/>
                <a:ea typeface="ＭＳ Ｐゴシック" charset="0"/>
              </a:defRPr>
            </a:lvl9pPr>
          </a:lstStyle>
          <a:p>
            <a:r>
              <a:rPr lang="en-US" sz="800" i="1" dirty="0">
                <a:latin typeface="Helvetica" charset="0"/>
              </a:rPr>
              <a:t>Software Architecture: Foundations, Theory, and Practice</a:t>
            </a:r>
            <a:r>
              <a:rPr lang="en-US" sz="800" dirty="0">
                <a:latin typeface="Helvetica" charset="0"/>
              </a:rPr>
              <a:t>; Richard N. Taylor, </a:t>
            </a:r>
            <a:r>
              <a:rPr lang="en-US" sz="800" dirty="0" err="1">
                <a:latin typeface="Helvetica" charset="0"/>
              </a:rPr>
              <a:t>Nenad</a:t>
            </a:r>
            <a:r>
              <a:rPr lang="en-US" sz="800" dirty="0">
                <a:latin typeface="Helvetica" charset="0"/>
              </a:rPr>
              <a:t> </a:t>
            </a:r>
            <a:r>
              <a:rPr lang="en-US" sz="800" dirty="0" err="1">
                <a:latin typeface="Helvetica" charset="0"/>
              </a:rPr>
              <a:t>Medvidovic</a:t>
            </a:r>
            <a:r>
              <a:rPr lang="en-US" sz="800" dirty="0">
                <a:latin typeface="Helvetica" charset="0"/>
              </a:rPr>
              <a:t>, and Eric M. </a:t>
            </a:r>
            <a:r>
              <a:rPr lang="en-US" sz="800" dirty="0" err="1">
                <a:latin typeface="Helvetica" charset="0"/>
              </a:rPr>
              <a:t>Dashofy</a:t>
            </a:r>
            <a:r>
              <a:rPr lang="en-US" sz="800" dirty="0">
                <a:latin typeface="Helvetica" charset="0"/>
              </a:rPr>
              <a:t>; </a:t>
            </a:r>
            <a:r>
              <a:rPr lang="en-US" sz="800" dirty="0">
                <a:latin typeface="Arial" charset="0"/>
              </a:rPr>
              <a:t>© 2008 John Wiley &amp; Sons, Inc. </a:t>
            </a:r>
            <a:endParaRPr lang="en-US" sz="900" dirty="0">
              <a:latin typeface="Helvetica" charset="0"/>
            </a:endParaRPr>
          </a:p>
        </p:txBody>
      </p:sp>
    </p:spTree>
    <p:extLst>
      <p:ext uri="{BB962C8B-B14F-4D97-AF65-F5344CB8AC3E}">
        <p14:creationId xmlns:p14="http://schemas.microsoft.com/office/powerpoint/2010/main" val="27963200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AU" altLang="zh-CN" dirty="0"/>
              <a:t>Advantages of Patterns</a:t>
            </a:r>
            <a:endParaRPr lang="en-AU" dirty="0"/>
          </a:p>
        </p:txBody>
      </p:sp>
      <p:sp>
        <p:nvSpPr>
          <p:cNvPr id="26625" name="Content Placeholder 1"/>
          <p:cNvSpPr>
            <a:spLocks noGrp="1"/>
          </p:cNvSpPr>
          <p:nvPr>
            <p:ph idx="1"/>
          </p:nvPr>
        </p:nvSpPr>
        <p:spPr/>
        <p:txBody>
          <a:bodyPr>
            <a:noAutofit/>
          </a:bodyPr>
          <a:lstStyle/>
          <a:p>
            <a:r>
              <a:rPr lang="en-AU" dirty="0"/>
              <a:t>Design patterns can speed up the development process by providing tested, proven development paradigms.</a:t>
            </a:r>
          </a:p>
          <a:p>
            <a:pPr lvl="1"/>
            <a:r>
              <a:rPr lang="en-AU" dirty="0"/>
              <a:t>Design patterns document the efforts of the experts</a:t>
            </a:r>
          </a:p>
          <a:p>
            <a:pPr lvl="1"/>
            <a:r>
              <a:rPr lang="en-AU" dirty="0"/>
              <a:t>Design patterns concerns with a flexible software architecture</a:t>
            </a:r>
          </a:p>
          <a:p>
            <a:endParaRPr lang="en-AU" dirty="0"/>
          </a:p>
          <a:p>
            <a:r>
              <a:rPr lang="en-AU" dirty="0"/>
              <a:t>Effective software design requires considering issues that may not become visible until later in the implementation.</a:t>
            </a:r>
          </a:p>
          <a:p>
            <a:endParaRPr lang="en-AU" dirty="0"/>
          </a:p>
          <a:p>
            <a:r>
              <a:rPr lang="en-AU" dirty="0"/>
              <a:t>Reusing design patterns helps to prevent subtle issues that can cause major problems and improves code readability for programmers and architects familiar with the patterns. </a:t>
            </a:r>
          </a:p>
        </p:txBody>
      </p:sp>
      <p:sp>
        <p:nvSpPr>
          <p:cNvPr id="3" name="Foliennummernplatzhalter 2">
            <a:extLst>
              <a:ext uri="{FF2B5EF4-FFF2-40B4-BE49-F238E27FC236}">
                <a16:creationId xmlns:a16="http://schemas.microsoft.com/office/drawing/2014/main" id="{F4CFAF38-551A-41E9-BC4F-96964D8E5149}"/>
              </a:ext>
            </a:extLst>
          </p:cNvPr>
          <p:cNvSpPr>
            <a:spLocks noGrp="1"/>
          </p:cNvSpPr>
          <p:nvPr>
            <p:ph type="sldNum" sz="quarter" idx="4"/>
          </p:nvPr>
        </p:nvSpPr>
        <p:spPr/>
        <p:txBody>
          <a:bodyPr/>
          <a:lstStyle/>
          <a:p>
            <a:fld id="{97F98C0B-273E-428A-ABCF-EBED2BA25188}" type="slidenum">
              <a:rPr lang="en-US" smtClean="0"/>
              <a:t>4</a:t>
            </a:fld>
            <a:endParaRPr lang="en-US"/>
          </a:p>
        </p:txBody>
      </p:sp>
    </p:spTree>
    <p:extLst>
      <p:ext uri="{BB962C8B-B14F-4D97-AF65-F5344CB8AC3E}">
        <p14:creationId xmlns:p14="http://schemas.microsoft.com/office/powerpoint/2010/main" val="7646524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6625">
                                            <p:txEl>
                                              <p:pRg st="4" end="4"/>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6625">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1"/>
          </p:nvPr>
        </p:nvSpPr>
        <p:spPr/>
        <p:txBody>
          <a:bodyPr>
            <a:normAutofit fontScale="92500"/>
          </a:bodyPr>
          <a:lstStyle/>
          <a:p>
            <a:r>
              <a:rPr lang="en-US" dirty="0" err="1"/>
              <a:t>GoF</a:t>
            </a:r>
            <a:r>
              <a:rPr lang="en-US" dirty="0"/>
              <a:t> are Erich Gamma, Richard Helm, Ralph Johnson and John </a:t>
            </a:r>
            <a:r>
              <a:rPr lang="en-US" dirty="0" err="1"/>
              <a:t>Vissides</a:t>
            </a:r>
            <a:endParaRPr lang="en-US" dirty="0"/>
          </a:p>
          <a:p>
            <a:pPr marL="0" indent="0">
              <a:buNone/>
            </a:pPr>
            <a:endParaRPr lang="en-US" dirty="0"/>
          </a:p>
          <a:p>
            <a:r>
              <a:rPr lang="en-US" dirty="0" err="1"/>
              <a:t>GoF</a:t>
            </a:r>
            <a:r>
              <a:rPr lang="en-US" dirty="0"/>
              <a:t> document 23 classic software design patterns in their book </a:t>
            </a:r>
          </a:p>
          <a:p>
            <a:pPr lvl="1"/>
            <a:r>
              <a:rPr lang="en-US" dirty="0"/>
              <a:t>Design Patterns: Elements of Reusable Object-Oriented Software</a:t>
            </a:r>
          </a:p>
          <a:p>
            <a:endParaRPr lang="en-US" dirty="0">
              <a:solidFill>
                <a:srgbClr val="FF0000"/>
              </a:solidFill>
            </a:endParaRPr>
          </a:p>
          <a:p>
            <a:r>
              <a:rPr lang="en-US" dirty="0"/>
              <a:t>The </a:t>
            </a:r>
            <a:r>
              <a:rPr lang="en-US" dirty="0" err="1"/>
              <a:t>GoF</a:t>
            </a:r>
            <a:r>
              <a:rPr lang="en-US" dirty="0"/>
              <a:t> book published in October 1994; documented design patterns that already existed but were not documented before</a:t>
            </a:r>
          </a:p>
        </p:txBody>
      </p:sp>
      <p:sp>
        <p:nvSpPr>
          <p:cNvPr id="4" name="Text Placeholder 3"/>
          <p:cNvSpPr>
            <a:spLocks noGrp="1"/>
          </p:cNvSpPr>
          <p:nvPr>
            <p:ph type="body" sz="quarter" idx="10"/>
          </p:nvPr>
        </p:nvSpPr>
        <p:spPr/>
        <p:txBody>
          <a:bodyPr>
            <a:normAutofit fontScale="85000" lnSpcReduction="20000"/>
          </a:bodyPr>
          <a:lstStyle/>
          <a:p>
            <a:r>
              <a:rPr lang="en-US" dirty="0"/>
              <a:t>Classic Object Oriented Design Patterns</a:t>
            </a:r>
          </a:p>
        </p:txBody>
      </p:sp>
      <p:sp>
        <p:nvSpPr>
          <p:cNvPr id="2" name="Title 1"/>
          <p:cNvSpPr>
            <a:spLocks noGrp="1"/>
          </p:cNvSpPr>
          <p:nvPr>
            <p:ph type="title"/>
          </p:nvPr>
        </p:nvSpPr>
        <p:spPr/>
        <p:txBody>
          <a:bodyPr>
            <a:normAutofit fontScale="90000"/>
          </a:bodyPr>
          <a:lstStyle/>
          <a:p>
            <a:r>
              <a:rPr lang="en-US" dirty="0"/>
              <a:t>Gang of Four (</a:t>
            </a:r>
            <a:r>
              <a:rPr lang="en-US" dirty="0" err="1"/>
              <a:t>GoF</a:t>
            </a:r>
            <a:r>
              <a:rPr lang="en-US" dirty="0"/>
              <a:t>)</a:t>
            </a:r>
          </a:p>
        </p:txBody>
      </p:sp>
      <p:pic>
        <p:nvPicPr>
          <p:cNvPr id="5" name="Picture 4" descr="200.jpe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05079" y="1210169"/>
            <a:ext cx="2570868" cy="3432110"/>
          </a:xfrm>
          <a:prstGeom prst="rect">
            <a:avLst/>
          </a:prstGeom>
        </p:spPr>
      </p:pic>
    </p:spTree>
    <p:extLst>
      <p:ext uri="{BB962C8B-B14F-4D97-AF65-F5344CB8AC3E}">
        <p14:creationId xmlns:p14="http://schemas.microsoft.com/office/powerpoint/2010/main" val="6321150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943345C1-4D37-4A71-AA0D-E28B7FEF80BA}"/>
              </a:ext>
            </a:extLst>
          </p:cNvPr>
          <p:cNvSpPr>
            <a:spLocks noGrp="1"/>
          </p:cNvSpPr>
          <p:nvPr>
            <p:ph type="title"/>
          </p:nvPr>
        </p:nvSpPr>
        <p:spPr/>
        <p:txBody>
          <a:bodyPr/>
          <a:lstStyle/>
          <a:p>
            <a:r>
              <a:rPr lang="en-US" dirty="0"/>
              <a:t>Student Task</a:t>
            </a:r>
          </a:p>
        </p:txBody>
      </p:sp>
      <p:sp>
        <p:nvSpPr>
          <p:cNvPr id="6" name="Inhaltsplatzhalter 5">
            <a:extLst>
              <a:ext uri="{FF2B5EF4-FFF2-40B4-BE49-F238E27FC236}">
                <a16:creationId xmlns:a16="http://schemas.microsoft.com/office/drawing/2014/main" id="{12273649-C61A-4FD0-934E-A167647613BE}"/>
              </a:ext>
            </a:extLst>
          </p:cNvPr>
          <p:cNvSpPr>
            <a:spLocks noGrp="1"/>
          </p:cNvSpPr>
          <p:nvPr>
            <p:ph idx="1"/>
          </p:nvPr>
        </p:nvSpPr>
        <p:spPr/>
        <p:txBody>
          <a:bodyPr/>
          <a:lstStyle/>
          <a:p>
            <a:r>
              <a:rPr lang="en-US" dirty="0"/>
              <a:t>Did you learn about </a:t>
            </a:r>
            <a:r>
              <a:rPr lang="en-US" dirty="0" err="1"/>
              <a:t>GoF</a:t>
            </a:r>
            <a:r>
              <a:rPr lang="en-US" dirty="0"/>
              <a:t> patterns?</a:t>
            </a:r>
          </a:p>
          <a:p>
            <a:r>
              <a:rPr lang="de-DE" dirty="0"/>
              <a:t>D</a:t>
            </a:r>
            <a:r>
              <a:rPr lang="en-US" dirty="0"/>
              <a:t>id you apply any of them?</a:t>
            </a:r>
          </a:p>
          <a:p>
            <a:pPr lvl="1"/>
            <a:r>
              <a:rPr lang="de-DE" dirty="0"/>
              <a:t>I</a:t>
            </a:r>
            <a:r>
              <a:rPr lang="en-US" dirty="0"/>
              <a:t>f so: what are your experiences?</a:t>
            </a:r>
          </a:p>
          <a:p>
            <a:endParaRPr lang="en-US" dirty="0"/>
          </a:p>
        </p:txBody>
      </p:sp>
      <p:sp>
        <p:nvSpPr>
          <p:cNvPr id="3" name="Foliennummernplatzhalter 2">
            <a:extLst>
              <a:ext uri="{FF2B5EF4-FFF2-40B4-BE49-F238E27FC236}">
                <a16:creationId xmlns:a16="http://schemas.microsoft.com/office/drawing/2014/main" id="{157BC02A-A42C-487D-B52B-BBD7AD8E6A1A}"/>
              </a:ext>
            </a:extLst>
          </p:cNvPr>
          <p:cNvSpPr>
            <a:spLocks noGrp="1"/>
          </p:cNvSpPr>
          <p:nvPr>
            <p:ph type="sldNum" sz="quarter" idx="4"/>
          </p:nvPr>
        </p:nvSpPr>
        <p:spPr/>
        <p:txBody>
          <a:bodyPr/>
          <a:lstStyle/>
          <a:p>
            <a:fld id="{97F98C0B-273E-428A-ABCF-EBED2BA25188}" type="slidenum">
              <a:rPr lang="en-US" smtClean="0"/>
              <a:t>6</a:t>
            </a:fld>
            <a:endParaRPr lang="en-US"/>
          </a:p>
        </p:txBody>
      </p:sp>
      <p:pic>
        <p:nvPicPr>
          <p:cNvPr id="7" name="Grafik 6" descr="Chat">
            <a:extLst>
              <a:ext uri="{FF2B5EF4-FFF2-40B4-BE49-F238E27FC236}">
                <a16:creationId xmlns:a16="http://schemas.microsoft.com/office/drawing/2014/main" id="{10FC51EF-6D7D-4CFA-9E9B-A633B5B95CE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30959" y="329635"/>
            <a:ext cx="685799" cy="685799"/>
          </a:xfrm>
          <a:prstGeom prst="rect">
            <a:avLst/>
          </a:prstGeom>
        </p:spPr>
      </p:pic>
      <p:pic>
        <p:nvPicPr>
          <p:cNvPr id="8" name="Grafik 7" descr="Benutzer">
            <a:extLst>
              <a:ext uri="{FF2B5EF4-FFF2-40B4-BE49-F238E27FC236}">
                <a16:creationId xmlns:a16="http://schemas.microsoft.com/office/drawing/2014/main" id="{C1AD3D69-FEBA-481D-A990-6AB4565D03B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54202" y="287999"/>
            <a:ext cx="767955" cy="767955"/>
          </a:xfrm>
          <a:prstGeom prst="rect">
            <a:avLst/>
          </a:prstGeom>
        </p:spPr>
      </p:pic>
      <p:pic>
        <p:nvPicPr>
          <p:cNvPr id="9" name="Grafik 8" descr="Bleistift">
            <a:extLst>
              <a:ext uri="{FF2B5EF4-FFF2-40B4-BE49-F238E27FC236}">
                <a16:creationId xmlns:a16="http://schemas.microsoft.com/office/drawing/2014/main" id="{3CB166A1-F7AB-4F8D-A5BB-3A7DEBCBDAD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50744" y="496162"/>
            <a:ext cx="351628" cy="351628"/>
          </a:xfrm>
          <a:prstGeom prst="rect">
            <a:avLst/>
          </a:prstGeom>
        </p:spPr>
      </p:pic>
    </p:spTree>
    <p:extLst>
      <p:ext uri="{BB962C8B-B14F-4D97-AF65-F5344CB8AC3E}">
        <p14:creationId xmlns:p14="http://schemas.microsoft.com/office/powerpoint/2010/main" val="22561038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Four Essential Elements</a:t>
            </a:r>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496021242"/>
              </p:ext>
            </p:extLst>
          </p:nvPr>
        </p:nvGraphicFramePr>
        <p:xfrm>
          <a:off x="647700" y="1295400"/>
          <a:ext cx="7920038" cy="384651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Foliennummernplatzhalter 3">
            <a:extLst>
              <a:ext uri="{FF2B5EF4-FFF2-40B4-BE49-F238E27FC236}">
                <a16:creationId xmlns:a16="http://schemas.microsoft.com/office/drawing/2014/main" id="{78BCD670-2B86-4770-826C-51C3D54407C7}"/>
              </a:ext>
            </a:extLst>
          </p:cNvPr>
          <p:cNvSpPr>
            <a:spLocks noGrp="1"/>
          </p:cNvSpPr>
          <p:nvPr>
            <p:ph type="sldNum" sz="quarter" idx="4"/>
          </p:nvPr>
        </p:nvSpPr>
        <p:spPr/>
        <p:txBody>
          <a:bodyPr/>
          <a:lstStyle/>
          <a:p>
            <a:fld id="{97F98C0B-273E-428A-ABCF-EBED2BA25188}" type="slidenum">
              <a:rPr lang="en-US" smtClean="0"/>
              <a:t>7</a:t>
            </a:fld>
            <a:endParaRPr lang="en-US"/>
          </a:p>
        </p:txBody>
      </p:sp>
    </p:spTree>
    <p:extLst>
      <p:ext uri="{BB962C8B-B14F-4D97-AF65-F5344CB8AC3E}">
        <p14:creationId xmlns:p14="http://schemas.microsoft.com/office/powerpoint/2010/main" val="15287286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099079" y="1454412"/>
            <a:ext cx="6780982" cy="50226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r>
              <a:rPr lang="en-AU" sz="1800" u="sng" dirty="0">
                <a:solidFill>
                  <a:schemeClr val="tx1"/>
                </a:solidFill>
              </a:rPr>
              <a:t>Non-Functional Properties</a:t>
            </a:r>
            <a:r>
              <a:rPr lang="en-AU" sz="1800" dirty="0">
                <a:solidFill>
                  <a:schemeClr val="tx1"/>
                </a:solidFill>
              </a:rPr>
              <a:t> arise from </a:t>
            </a:r>
            <a:r>
              <a:rPr lang="en-AU" sz="1800" u="sng" dirty="0">
                <a:solidFill>
                  <a:schemeClr val="tx1"/>
                </a:solidFill>
              </a:rPr>
              <a:t>Architectural Design Choices</a:t>
            </a:r>
          </a:p>
        </p:txBody>
      </p:sp>
      <p:sp>
        <p:nvSpPr>
          <p:cNvPr id="2" name="Title 1"/>
          <p:cNvSpPr>
            <a:spLocks noGrp="1"/>
          </p:cNvSpPr>
          <p:nvPr>
            <p:ph type="title"/>
          </p:nvPr>
        </p:nvSpPr>
        <p:spPr/>
        <p:txBody>
          <a:bodyPr>
            <a:normAutofit/>
          </a:bodyPr>
          <a:lstStyle/>
          <a:p>
            <a:r>
              <a:rPr lang="en-AU" dirty="0"/>
              <a:t>Non-Functional Properties</a:t>
            </a:r>
          </a:p>
        </p:txBody>
      </p:sp>
      <p:sp>
        <p:nvSpPr>
          <p:cNvPr id="3" name="Content Placeholder 2"/>
          <p:cNvSpPr>
            <a:spLocks noGrp="1"/>
          </p:cNvSpPr>
          <p:nvPr>
            <p:ph idx="1"/>
          </p:nvPr>
        </p:nvSpPr>
        <p:spPr/>
        <p:txBody>
          <a:bodyPr>
            <a:normAutofit/>
          </a:bodyPr>
          <a:lstStyle/>
          <a:p>
            <a:endParaRPr lang="en-AU" dirty="0"/>
          </a:p>
          <a:p>
            <a:endParaRPr lang="en-AU" dirty="0"/>
          </a:p>
          <a:p>
            <a:endParaRPr lang="en-AU" dirty="0"/>
          </a:p>
          <a:p>
            <a:r>
              <a:rPr lang="en-AU" dirty="0"/>
              <a:t>There are two kinds of requirements:</a:t>
            </a:r>
          </a:p>
          <a:p>
            <a:endParaRPr lang="en-AU" dirty="0"/>
          </a:p>
          <a:p>
            <a:pPr lvl="1"/>
            <a:r>
              <a:rPr lang="en-AU" u="sng" dirty="0"/>
              <a:t>Functional</a:t>
            </a:r>
            <a:r>
              <a:rPr lang="en-AU" dirty="0"/>
              <a:t> Requirements (i.e. what are the inputs and outputs)</a:t>
            </a:r>
          </a:p>
          <a:p>
            <a:pPr lvl="1"/>
            <a:endParaRPr lang="en-AU" dirty="0"/>
          </a:p>
          <a:p>
            <a:pPr lvl="1"/>
            <a:r>
              <a:rPr lang="en-AU" u="sng" dirty="0"/>
              <a:t>Non-Functional</a:t>
            </a:r>
            <a:r>
              <a:rPr lang="en-AU" dirty="0"/>
              <a:t> Requirements (a.k.a. </a:t>
            </a:r>
            <a:r>
              <a:rPr lang="en-AU" i="1" dirty="0"/>
              <a:t>Qualities</a:t>
            </a:r>
            <a:r>
              <a:rPr lang="en-AU" dirty="0"/>
              <a:t>, or </a:t>
            </a:r>
            <a:r>
              <a:rPr lang="mr-IN" i="1" dirty="0"/>
              <a:t>–</a:t>
            </a:r>
            <a:r>
              <a:rPr lang="en-AU" i="1" dirty="0" err="1"/>
              <a:t>illities</a:t>
            </a:r>
            <a:r>
              <a:rPr lang="en-AU" dirty="0"/>
              <a:t>)</a:t>
            </a:r>
          </a:p>
          <a:p>
            <a:pPr lvl="2"/>
            <a:r>
              <a:rPr lang="en-AU" dirty="0"/>
              <a:t>e.g. “Performance” (latency, throughput, … )</a:t>
            </a:r>
          </a:p>
          <a:p>
            <a:pPr lvl="2"/>
            <a:r>
              <a:rPr lang="en-AU" dirty="0"/>
              <a:t>e.g. “Security” (confidentiality, integrity, availability, privacy, …)</a:t>
            </a:r>
          </a:p>
          <a:p>
            <a:pPr lvl="2"/>
            <a:r>
              <a:rPr lang="en-AU" dirty="0"/>
              <a:t>e.g. Usability, Reliability, Modifiability, …</a:t>
            </a:r>
          </a:p>
          <a:p>
            <a:pPr lvl="2"/>
            <a:endParaRPr lang="en-AU" dirty="0"/>
          </a:p>
        </p:txBody>
      </p:sp>
      <p:sp>
        <p:nvSpPr>
          <p:cNvPr id="8" name="Foliennummernplatzhalter 7">
            <a:extLst>
              <a:ext uri="{FF2B5EF4-FFF2-40B4-BE49-F238E27FC236}">
                <a16:creationId xmlns:a16="http://schemas.microsoft.com/office/drawing/2014/main" id="{7E052A13-D5AB-48A5-BE57-F7E94B86A197}"/>
              </a:ext>
            </a:extLst>
          </p:cNvPr>
          <p:cNvSpPr>
            <a:spLocks noGrp="1"/>
          </p:cNvSpPr>
          <p:nvPr>
            <p:ph type="sldNum" sz="quarter" idx="4"/>
          </p:nvPr>
        </p:nvSpPr>
        <p:spPr/>
        <p:txBody>
          <a:bodyPr/>
          <a:lstStyle/>
          <a:p>
            <a:fld id="{97F98C0B-273E-428A-ABCF-EBED2BA25188}" type="slidenum">
              <a:rPr lang="en-US" smtClean="0"/>
              <a:t>8</a:t>
            </a:fld>
            <a:endParaRPr lang="en-US"/>
          </a:p>
        </p:txBody>
      </p:sp>
    </p:spTree>
    <p:extLst>
      <p:ext uri="{BB962C8B-B14F-4D97-AF65-F5344CB8AC3E}">
        <p14:creationId xmlns:p14="http://schemas.microsoft.com/office/powerpoint/2010/main" val="35193278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nvPr>
        </p:nvGraphicFramePr>
        <p:xfrm>
          <a:off x="260792" y="1097304"/>
          <a:ext cx="8712968" cy="376041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p:txBody>
          <a:bodyPr>
            <a:normAutofit/>
          </a:bodyPr>
          <a:lstStyle/>
          <a:p>
            <a:r>
              <a:rPr lang="en-AU" dirty="0"/>
              <a:t>ISO/IEC 25010:2011 Quality Model</a:t>
            </a:r>
          </a:p>
        </p:txBody>
      </p:sp>
      <p:sp>
        <p:nvSpPr>
          <p:cNvPr id="6" name="TextBox 2">
            <a:extLst>
              <a:ext uri="{FF2B5EF4-FFF2-40B4-BE49-F238E27FC236}">
                <a16:creationId xmlns:a16="http://schemas.microsoft.com/office/drawing/2014/main" id="{FEBA2D89-DB4F-4B08-8EA3-C847DFE0E177}"/>
              </a:ext>
            </a:extLst>
          </p:cNvPr>
          <p:cNvSpPr txBox="1"/>
          <p:nvPr/>
        </p:nvSpPr>
        <p:spPr>
          <a:xfrm>
            <a:off x="648000" y="4828328"/>
            <a:ext cx="6019500" cy="338552"/>
          </a:xfrm>
          <a:prstGeom prst="rect">
            <a:avLst/>
          </a:prstGeom>
          <a:solidFill>
            <a:schemeClr val="accent1"/>
          </a:solidFill>
        </p:spPr>
        <p:txBody>
          <a:bodyPr wrap="square" lIns="91438" tIns="45719" rIns="91438" bIns="45719" rtlCol="0">
            <a:spAutoFit/>
          </a:bodyPr>
          <a:lstStyle/>
          <a:p>
            <a:r>
              <a:rPr lang="en-US" sz="1600" b="1" dirty="0">
                <a:solidFill>
                  <a:schemeClr val="bg1"/>
                </a:solidFill>
              </a:rPr>
              <a:t>Adopting a design pattern causes trade-offs among quality attributes</a:t>
            </a:r>
          </a:p>
        </p:txBody>
      </p:sp>
    </p:spTree>
    <p:extLst>
      <p:ext uri="{BB962C8B-B14F-4D97-AF65-F5344CB8AC3E}">
        <p14:creationId xmlns:p14="http://schemas.microsoft.com/office/powerpoint/2010/main" val="36093386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heme/theme1.xml><?xml version="1.0" encoding="utf-8"?>
<a:theme xmlns:a="http://schemas.openxmlformats.org/drawingml/2006/main" name="1_Technische Universität Berlin | PowerPoint Master">
  <a:themeElements>
    <a:clrScheme name="Benutzerdefiniert 1">
      <a:dk1>
        <a:srgbClr val="000000"/>
      </a:dk1>
      <a:lt1>
        <a:srgbClr val="FFFFFF"/>
      </a:lt1>
      <a:dk2>
        <a:srgbClr val="C50E1F"/>
      </a:dk2>
      <a:lt2>
        <a:srgbClr val="B2B2B2"/>
      </a:lt2>
      <a:accent1>
        <a:srgbClr val="717171"/>
      </a:accent1>
      <a:accent2>
        <a:srgbClr val="177191"/>
      </a:accent2>
      <a:accent3>
        <a:srgbClr val="FFFFFF"/>
      </a:accent3>
      <a:accent4>
        <a:srgbClr val="000000"/>
      </a:accent4>
      <a:accent5>
        <a:srgbClr val="BBBBBB"/>
      </a:accent5>
      <a:accent6>
        <a:srgbClr val="146683"/>
      </a:accent6>
      <a:hlink>
        <a:srgbClr val="0070C0"/>
      </a:hlink>
      <a:folHlink>
        <a:srgbClr val="99CC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ata61 PowerPoint Widescreen</Template>
  <TotalTime>0</TotalTime>
  <Words>1840</Words>
  <Application>Microsoft Office PowerPoint</Application>
  <PresentationFormat>On-screen Show (16:10)</PresentationFormat>
  <Paragraphs>275</Paragraphs>
  <Slides>14</Slides>
  <Notes>13</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14</vt:i4>
      </vt:variant>
    </vt:vector>
  </HeadingPairs>
  <TitlesOfParts>
    <vt:vector size="23" baseType="lpstr">
      <vt:lpstr>等线</vt:lpstr>
      <vt:lpstr>等线 Light</vt:lpstr>
      <vt:lpstr>ＭＳ Ｐゴシック</vt:lpstr>
      <vt:lpstr>Arial</vt:lpstr>
      <vt:lpstr>Calibri</vt:lpstr>
      <vt:lpstr>Helvetica</vt:lpstr>
      <vt:lpstr>Mangal</vt:lpstr>
      <vt:lpstr>TheSansB W3 Light</vt:lpstr>
      <vt:lpstr>1_Technische Universität Berlin | PowerPoint Master</vt:lpstr>
      <vt:lpstr>Design Patterns (Overview)</vt:lpstr>
      <vt:lpstr>What is a Design Pattern?</vt:lpstr>
      <vt:lpstr>Architecture Design </vt:lpstr>
      <vt:lpstr>Advantages of Patterns</vt:lpstr>
      <vt:lpstr>Gang of Four (GoF)</vt:lpstr>
      <vt:lpstr>Student Task</vt:lpstr>
      <vt:lpstr>Four Essential Elements</vt:lpstr>
      <vt:lpstr>Non-Functional Properties</vt:lpstr>
      <vt:lpstr>ISO/IEC 25010:2011 Quality Model</vt:lpstr>
      <vt:lpstr>Pattern Collection (Chapter 7)</vt:lpstr>
      <vt:lpstr>Pattern Form</vt:lpstr>
      <vt:lpstr>Context</vt:lpstr>
      <vt:lpstr>Pattern Collection (Chapter 7) Please read about the ones highlighted (black background)</vt:lpstr>
      <vt:lpstr>Design Patterns (Overview)</vt:lpstr>
    </vt:vector>
  </TitlesOfParts>
  <Company>CSIRO</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ngo Weber</dc:creator>
  <cp:lastModifiedBy>Ingo Weber</cp:lastModifiedBy>
  <cp:revision>983</cp:revision>
  <dcterms:created xsi:type="dcterms:W3CDTF">2018-09-03T00:08:13Z</dcterms:created>
  <dcterms:modified xsi:type="dcterms:W3CDTF">2021-08-12T09:27:49Z</dcterms:modified>
</cp:coreProperties>
</file>